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  <p:sldMasterId id="2147483689" r:id="rId4"/>
  </p:sldMasterIdLst>
  <p:notesMasterIdLst>
    <p:notesMasterId r:id="rId10"/>
  </p:notesMasterIdLst>
  <p:sldIdLst>
    <p:sldId id="1322" r:id="rId5"/>
    <p:sldId id="1418" r:id="rId6"/>
    <p:sldId id="1419" r:id="rId7"/>
    <p:sldId id="1326" r:id="rId8"/>
    <p:sldId id="286" r:id="rId9"/>
  </p:sldIdLst>
  <p:sldSz cx="12192000" cy="6858000"/>
  <p:notesSz cx="6858000" cy="9144000"/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418"/>
            <p14:sldId id="1419"/>
            <p14:sldId id="1326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CEAEB"/>
    <a:srgbClr val="DE5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3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123" Type="http://schemas.openxmlformats.org/officeDocument/2006/relationships/theme" Target="theme/theme1.xml"/><Relationship Id="rId5" Type="http://schemas.openxmlformats.org/officeDocument/2006/relationships/slide" Target="slides/slide1.xml"/><Relationship Id="rId119" Type="http://customschemas.google.com/relationships/presentationmetadata" Target="metadata"/><Relationship Id="rId10" Type="http://schemas.openxmlformats.org/officeDocument/2006/relationships/notesMaster" Target="notesMasters/notesMaster1.xml"/><Relationship Id="rId12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4" name="Google Shape;9494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95" name="Google Shape;949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30920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4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768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BF4C7BC7-DA8E-7A0A-D05B-92F78A49E80B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538578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81">
            <a:extLst>
              <a:ext uri="{FF2B5EF4-FFF2-40B4-BE49-F238E27FC236}">
                <a16:creationId xmlns:a16="http://schemas.microsoft.com/office/drawing/2014/main" id="{199DB5BB-AB5C-8039-13F9-1E64F13016F7}"/>
              </a:ext>
            </a:extLst>
          </p:cNvPr>
          <p:cNvSpPr/>
          <p:nvPr userDrawn="1"/>
        </p:nvSpPr>
        <p:spPr>
          <a:xfrm>
            <a:off x="5714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5" name="Rounded Rectangle 81">
            <a:extLst>
              <a:ext uri="{FF2B5EF4-FFF2-40B4-BE49-F238E27FC236}">
                <a16:creationId xmlns:a16="http://schemas.microsoft.com/office/drawing/2014/main" id="{B3D5CE2E-CF92-B9D9-CEE8-AEA41B2FD209}"/>
              </a:ext>
            </a:extLst>
          </p:cNvPr>
          <p:cNvSpPr/>
          <p:nvPr userDrawn="1"/>
        </p:nvSpPr>
        <p:spPr>
          <a:xfrm>
            <a:off x="44195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7" name="Rounded Rectangle 81">
            <a:extLst>
              <a:ext uri="{FF2B5EF4-FFF2-40B4-BE49-F238E27FC236}">
                <a16:creationId xmlns:a16="http://schemas.microsoft.com/office/drawing/2014/main" id="{B1507AE9-CF2C-1679-47FB-B70131636C3E}"/>
              </a:ext>
            </a:extLst>
          </p:cNvPr>
          <p:cNvSpPr/>
          <p:nvPr userDrawn="1"/>
        </p:nvSpPr>
        <p:spPr>
          <a:xfrm>
            <a:off x="82676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14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195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7701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7" name="Picture Placeholder 9">
            <a:extLst>
              <a:ext uri="{FF2B5EF4-FFF2-40B4-BE49-F238E27FC236}">
                <a16:creationId xmlns:a16="http://schemas.microsoft.com/office/drawing/2014/main" id="{1817FE76-5DE8-BA2A-8ADD-3E7ED69922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31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8" name="Picture Placeholder 9">
            <a:extLst>
              <a:ext uri="{FF2B5EF4-FFF2-40B4-BE49-F238E27FC236}">
                <a16:creationId xmlns:a16="http://schemas.microsoft.com/office/drawing/2014/main" id="{CDCCDD54-C92C-6288-E430-89ABE5FEB41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6512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9" name="Picture Placeholder 9">
            <a:extLst>
              <a:ext uri="{FF2B5EF4-FFF2-40B4-BE49-F238E27FC236}">
                <a16:creationId xmlns:a16="http://schemas.microsoft.com/office/drawing/2014/main" id="{3E88C78C-0468-0247-540E-FC20946E6EF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499401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8" name="Google Shape;1087;p29">
            <a:extLst>
              <a:ext uri="{FF2B5EF4-FFF2-40B4-BE49-F238E27FC236}">
                <a16:creationId xmlns:a16="http://schemas.microsoft.com/office/drawing/2014/main" id="{AC8C124C-07B1-1C1D-03B0-03A73BE625F3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25677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>
              <a:alphaModFix amt="75000"/>
            </a:blip>
            <a:srcRect/>
            <a:stretch>
              <a:fillRect t="-22080" b="-93964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EDA7E7CC-96F5-3624-C75C-8F207D760CE8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9401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416A881-ABD6-8A33-6B22-A65186AC775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701508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1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1" name="Google Shape;1091;p52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408" y="607475"/>
            <a:ext cx="2000192" cy="602704"/>
          </a:xfrm>
          <a:prstGeom prst="rect">
            <a:avLst/>
          </a:prstGeom>
          <a:noFill/>
          <a:ln>
            <a:noFill/>
          </a:ln>
        </p:spPr>
      </p:pic>
      <p:sp>
        <p:nvSpPr>
          <p:cNvPr id="1092" name="Google Shape;1092;p52"/>
          <p:cNvSpPr txBox="1">
            <a:spLocks noGrp="1"/>
          </p:cNvSpPr>
          <p:nvPr>
            <p:ph type="ctrTitle"/>
          </p:nvPr>
        </p:nvSpPr>
        <p:spPr>
          <a:xfrm>
            <a:off x="641408" y="2601821"/>
            <a:ext cx="4686899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" name="Google Shape;1093;p52"/>
          <p:cNvSpPr txBox="1">
            <a:spLocks noGrp="1"/>
          </p:cNvSpPr>
          <p:nvPr>
            <p:ph type="subTitle" idx="1"/>
          </p:nvPr>
        </p:nvSpPr>
        <p:spPr>
          <a:xfrm>
            <a:off x="641408" y="3922990"/>
            <a:ext cx="468689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95" name="Google Shape;1095;p52"/>
          <p:cNvGrpSpPr/>
          <p:nvPr/>
        </p:nvGrpSpPr>
        <p:grpSpPr>
          <a:xfrm>
            <a:off x="5782108" y="0"/>
            <a:ext cx="6409892" cy="6858000"/>
            <a:chOff x="5734050" y="117476"/>
            <a:chExt cx="6267450" cy="6705600"/>
          </a:xfrm>
        </p:grpSpPr>
        <p:sp>
          <p:nvSpPr>
            <p:cNvPr id="1096" name="Google Shape;1096;p52"/>
            <p:cNvSpPr/>
            <p:nvPr/>
          </p:nvSpPr>
          <p:spPr>
            <a:xfrm>
              <a:off x="8543925" y="117476"/>
              <a:ext cx="3457575" cy="6705600"/>
            </a:xfrm>
            <a:custGeom>
              <a:avLst/>
              <a:gdLst/>
              <a:ahLst/>
              <a:cxnLst/>
              <a:rect l="l" t="t" r="r" b="b"/>
              <a:pathLst>
                <a:path w="203" h="394" extrusionOk="0">
                  <a:moveTo>
                    <a:pt x="203" y="0"/>
                  </a:moveTo>
                  <a:cubicBezTo>
                    <a:pt x="203" y="394"/>
                    <a:pt x="203" y="394"/>
                    <a:pt x="203" y="394"/>
                  </a:cubicBezTo>
                  <a:cubicBezTo>
                    <a:pt x="0" y="394"/>
                    <a:pt x="0" y="394"/>
                    <a:pt x="0" y="394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367"/>
                    <a:pt x="9" y="356"/>
                    <a:pt x="22" y="354"/>
                  </a:cubicBezTo>
                  <a:cubicBezTo>
                    <a:pt x="100" y="343"/>
                    <a:pt x="159" y="277"/>
                    <a:pt x="159" y="197"/>
                  </a:cubicBezTo>
                  <a:cubicBezTo>
                    <a:pt x="159" y="117"/>
                    <a:pt x="100" y="51"/>
                    <a:pt x="22" y="40"/>
                  </a:cubicBezTo>
                  <a:cubicBezTo>
                    <a:pt x="9" y="38"/>
                    <a:pt x="0" y="26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7" name="Google Shape;1097;p52"/>
            <p:cNvSpPr/>
            <p:nvPr/>
          </p:nvSpPr>
          <p:spPr>
            <a:xfrm>
              <a:off x="5835650" y="763588"/>
              <a:ext cx="2708275" cy="5413375"/>
            </a:xfrm>
            <a:custGeom>
              <a:avLst/>
              <a:gdLst/>
              <a:ahLst/>
              <a:cxnLst/>
              <a:rect l="l" t="t" r="r" b="b"/>
              <a:pathLst>
                <a:path w="159" h="318" extrusionOk="0">
                  <a:moveTo>
                    <a:pt x="20" y="159"/>
                  </a:moveTo>
                  <a:cubicBezTo>
                    <a:pt x="20" y="233"/>
                    <a:pt x="77" y="293"/>
                    <a:pt x="149" y="298"/>
                  </a:cubicBezTo>
                  <a:cubicBezTo>
                    <a:pt x="155" y="298"/>
                    <a:pt x="159" y="302"/>
                    <a:pt x="159" y="308"/>
                  </a:cubicBezTo>
                  <a:cubicBezTo>
                    <a:pt x="159" y="308"/>
                    <a:pt x="159" y="308"/>
                    <a:pt x="159" y="308"/>
                  </a:cubicBezTo>
                  <a:cubicBezTo>
                    <a:pt x="159" y="313"/>
                    <a:pt x="154" y="318"/>
                    <a:pt x="148" y="318"/>
                  </a:cubicBezTo>
                  <a:cubicBezTo>
                    <a:pt x="65" y="312"/>
                    <a:pt x="0" y="243"/>
                    <a:pt x="0" y="159"/>
                  </a:cubicBezTo>
                  <a:cubicBezTo>
                    <a:pt x="0" y="75"/>
                    <a:pt x="65" y="6"/>
                    <a:pt x="148" y="0"/>
                  </a:cubicBezTo>
                  <a:cubicBezTo>
                    <a:pt x="154" y="0"/>
                    <a:pt x="159" y="4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6"/>
                    <a:pt x="155" y="20"/>
                    <a:pt x="149" y="20"/>
                  </a:cubicBezTo>
                  <a:cubicBezTo>
                    <a:pt x="77" y="25"/>
                    <a:pt x="20" y="85"/>
                    <a:pt x="20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8" name="Google Shape;1098;p52"/>
            <p:cNvSpPr/>
            <p:nvPr/>
          </p:nvSpPr>
          <p:spPr>
            <a:xfrm>
              <a:off x="5784850" y="401478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2" y="3"/>
                    <a:pt x="32" y="5"/>
                    <a:pt x="3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9" name="Google Shape;1099;p52"/>
            <p:cNvSpPr/>
            <p:nvPr/>
          </p:nvSpPr>
          <p:spPr>
            <a:xfrm>
              <a:off x="5734050" y="3521076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3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0" name="Google Shape;1100;p52"/>
            <p:cNvSpPr/>
            <p:nvPr/>
          </p:nvSpPr>
          <p:spPr>
            <a:xfrm>
              <a:off x="5749925" y="3776663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1" y="4"/>
                    <a:pt x="3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1" name="Google Shape;1101;p52"/>
            <p:cNvSpPr/>
            <p:nvPr/>
          </p:nvSpPr>
          <p:spPr>
            <a:xfrm>
              <a:off x="5734050" y="3300413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7"/>
                  </a:moveTo>
                  <a:cubicBezTo>
                    <a:pt x="0" y="4"/>
                    <a:pt x="0" y="2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4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2" name="Google Shape;1102;p52"/>
            <p:cNvSpPr/>
            <p:nvPr/>
          </p:nvSpPr>
          <p:spPr>
            <a:xfrm>
              <a:off x="5749925" y="3044826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7"/>
                  </a:moveTo>
                  <a:cubicBezTo>
                    <a:pt x="0" y="5"/>
                    <a:pt x="0" y="2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"/>
                    <a:pt x="30" y="5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3" name="Google Shape;1103;p52"/>
            <p:cNvSpPr/>
            <p:nvPr/>
          </p:nvSpPr>
          <p:spPr>
            <a:xfrm>
              <a:off x="5784850" y="278923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7"/>
                  </a:moveTo>
                  <a:cubicBezTo>
                    <a:pt x="1" y="5"/>
                    <a:pt x="1" y="3"/>
                    <a:pt x="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3"/>
                    <a:pt x="32" y="5"/>
                    <a:pt x="3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pic>
        <p:nvPicPr>
          <p:cNvPr id="1104" name="Google Shape;1104;p52"/>
          <p:cNvPicPr preferRelativeResize="0"/>
          <p:nvPr/>
        </p:nvPicPr>
        <p:blipFill rotWithShape="1">
          <a:blip r:embed="rId3">
            <a:alphaModFix/>
          </a:blip>
          <a:srcRect l="45198" r="9270"/>
          <a:stretch/>
        </p:blipFill>
        <p:spPr>
          <a:xfrm>
            <a:off x="6431938" y="1213883"/>
            <a:ext cx="4429102" cy="4430234"/>
          </a:xfrm>
          <a:prstGeom prst="ellipse">
            <a:avLst/>
          </a:prstGeom>
          <a:noFill/>
          <a:ln>
            <a:noFill/>
          </a:ln>
        </p:spPr>
      </p:pic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9357BCF4-EE80-04CD-69DC-BAB8BC873B54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D3340C8-5BAC-2239-05DC-743E21ABCAB4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45240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>
              <a:alphaModFix/>
            </a:blip>
            <a:srcRect l="21461" r="25692" b="15812"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21B4165-715B-3D29-8948-EC75E597B696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06147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>
            <a:alphaModFix/>
          </a:blip>
          <a:srcRect t="25577" b="8799"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7554E3-9DC8-DFEF-B344-B0F4DE096CFE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66691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bg>
      <p:bgPr>
        <a:solidFill>
          <a:schemeClr val="lt1"/>
        </a:solidFill>
        <a:effectLst/>
      </p:bgPr>
    </p:bg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1" name="Google Shape;1641;p55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42" name="Google Shape;164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43" name="Google Shape;1643;p55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44" name="Google Shape;1644;p55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5" name="Google Shape;1645;p5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6" name="Google Shape;1646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47" name="Google Shape;1647;p5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9" name="Google Shape;1649;p5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3" name="Google Shape;1087;p29">
            <a:extLst>
              <a:ext uri="{FF2B5EF4-FFF2-40B4-BE49-F238E27FC236}">
                <a16:creationId xmlns:a16="http://schemas.microsoft.com/office/drawing/2014/main" id="{67F89210-4C14-8A44-2135-C77638EDB49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45834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bg>
      <p:bgPr>
        <a:solidFill>
          <a:schemeClr val="lt1"/>
        </a:solidFill>
        <a:effectLst/>
      </p:bgPr>
    </p:bg>
    <p:spTree>
      <p:nvGrpSpPr>
        <p:cNvPr id="1" name="Shape 1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1" name="Google Shape;1651;p56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52" name="Google Shape;1652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53" name="Google Shape;1653;p56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54" name="Google Shape;1654;p5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255417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5" name="Google Shape;1655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56" name="Google Shape;1656;p5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8" name="Google Shape;1658;p56"/>
          <p:cNvSpPr/>
          <p:nvPr/>
        </p:nvSpPr>
        <p:spPr>
          <a:xfrm>
            <a:off x="6298116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59" name="Google Shape;1659;p56"/>
          <p:cNvSpPr txBox="1">
            <a:spLocks noGrp="1"/>
          </p:cNvSpPr>
          <p:nvPr>
            <p:ph type="body" idx="1"/>
          </p:nvPr>
        </p:nvSpPr>
        <p:spPr>
          <a:xfrm>
            <a:off x="6298117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" name="Google Shape;1660;p56"/>
          <p:cNvSpPr/>
          <p:nvPr/>
        </p:nvSpPr>
        <p:spPr>
          <a:xfrm>
            <a:off x="6196591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1" name="Google Shape;1661;p56"/>
          <p:cNvSpPr txBox="1">
            <a:spLocks noGrp="1"/>
          </p:cNvSpPr>
          <p:nvPr>
            <p:ph type="body" idx="2"/>
          </p:nvPr>
        </p:nvSpPr>
        <p:spPr>
          <a:xfrm>
            <a:off x="6298117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56"/>
          <p:cNvSpPr txBox="1">
            <a:spLocks noGrp="1"/>
          </p:cNvSpPr>
          <p:nvPr>
            <p:ph type="body" idx="3"/>
          </p:nvPr>
        </p:nvSpPr>
        <p:spPr>
          <a:xfrm>
            <a:off x="6201348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3" name="Google Shape;1663;p56"/>
          <p:cNvSpPr>
            <a:spLocks noGrp="1"/>
          </p:cNvSpPr>
          <p:nvPr>
            <p:ph type="pic" idx="4"/>
          </p:nvPr>
        </p:nvSpPr>
        <p:spPr>
          <a:xfrm>
            <a:off x="7905750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64" name="Google Shape;1664;p56"/>
          <p:cNvSpPr/>
          <p:nvPr/>
        </p:nvSpPr>
        <p:spPr>
          <a:xfrm>
            <a:off x="920737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5" name="Google Shape;1665;p56"/>
          <p:cNvSpPr txBox="1">
            <a:spLocks noGrp="1"/>
          </p:cNvSpPr>
          <p:nvPr>
            <p:ph type="body" idx="5"/>
          </p:nvPr>
        </p:nvSpPr>
        <p:spPr>
          <a:xfrm>
            <a:off x="920738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" name="Google Shape;1666;p56"/>
          <p:cNvSpPr/>
          <p:nvPr/>
        </p:nvSpPr>
        <p:spPr>
          <a:xfrm>
            <a:off x="825503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7" name="Google Shape;1667;p56"/>
          <p:cNvSpPr txBox="1">
            <a:spLocks noGrp="1"/>
          </p:cNvSpPr>
          <p:nvPr>
            <p:ph type="body" idx="6"/>
          </p:nvPr>
        </p:nvSpPr>
        <p:spPr>
          <a:xfrm>
            <a:off x="920738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" name="Google Shape;1668;p56"/>
          <p:cNvSpPr txBox="1">
            <a:spLocks noGrp="1"/>
          </p:cNvSpPr>
          <p:nvPr>
            <p:ph type="body" idx="7"/>
          </p:nvPr>
        </p:nvSpPr>
        <p:spPr>
          <a:xfrm>
            <a:off x="823969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9" name="Google Shape;1669;p56"/>
          <p:cNvSpPr>
            <a:spLocks noGrp="1"/>
          </p:cNvSpPr>
          <p:nvPr>
            <p:ph type="pic" idx="8"/>
          </p:nvPr>
        </p:nvSpPr>
        <p:spPr>
          <a:xfrm>
            <a:off x="2528371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0" name="Google Shape;1670;p56"/>
          <p:cNvSpPr/>
          <p:nvPr/>
        </p:nvSpPr>
        <p:spPr>
          <a:xfrm>
            <a:off x="3601139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1" name="Google Shape;1671;p56"/>
          <p:cNvSpPr txBox="1">
            <a:spLocks noGrp="1"/>
          </p:cNvSpPr>
          <p:nvPr>
            <p:ph type="body" idx="9"/>
          </p:nvPr>
        </p:nvSpPr>
        <p:spPr>
          <a:xfrm>
            <a:off x="3601140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Font typeface="Arial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56"/>
          <p:cNvSpPr/>
          <p:nvPr/>
        </p:nvSpPr>
        <p:spPr>
          <a:xfrm>
            <a:off x="3511047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3" name="Google Shape;1673;p56"/>
          <p:cNvSpPr txBox="1">
            <a:spLocks noGrp="1"/>
          </p:cNvSpPr>
          <p:nvPr>
            <p:ph type="body" idx="13"/>
          </p:nvPr>
        </p:nvSpPr>
        <p:spPr>
          <a:xfrm>
            <a:off x="3601140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4" name="Google Shape;1674;p56"/>
          <p:cNvSpPr txBox="1">
            <a:spLocks noGrp="1"/>
          </p:cNvSpPr>
          <p:nvPr>
            <p:ph type="body" idx="14"/>
          </p:nvPr>
        </p:nvSpPr>
        <p:spPr>
          <a:xfrm>
            <a:off x="3504371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" name="Google Shape;1675;p56"/>
          <p:cNvSpPr>
            <a:spLocks noGrp="1"/>
          </p:cNvSpPr>
          <p:nvPr>
            <p:ph type="pic" idx="15"/>
          </p:nvPr>
        </p:nvSpPr>
        <p:spPr>
          <a:xfrm>
            <a:off x="5208773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6" name="Google Shape;1676;p56"/>
          <p:cNvSpPr/>
          <p:nvPr/>
        </p:nvSpPr>
        <p:spPr>
          <a:xfrm>
            <a:off x="8977368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7" name="Google Shape;1677;p56"/>
          <p:cNvSpPr txBox="1">
            <a:spLocks noGrp="1"/>
          </p:cNvSpPr>
          <p:nvPr>
            <p:ph type="body" idx="16"/>
          </p:nvPr>
        </p:nvSpPr>
        <p:spPr>
          <a:xfrm>
            <a:off x="8977369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8" name="Google Shape;1678;p56"/>
          <p:cNvSpPr/>
          <p:nvPr/>
        </p:nvSpPr>
        <p:spPr>
          <a:xfrm>
            <a:off x="8882134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9" name="Google Shape;1679;p56"/>
          <p:cNvSpPr txBox="1">
            <a:spLocks noGrp="1"/>
          </p:cNvSpPr>
          <p:nvPr>
            <p:ph type="body" idx="17"/>
          </p:nvPr>
        </p:nvSpPr>
        <p:spPr>
          <a:xfrm>
            <a:off x="8977369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0" name="Google Shape;1680;p56"/>
          <p:cNvSpPr txBox="1">
            <a:spLocks noGrp="1"/>
          </p:cNvSpPr>
          <p:nvPr>
            <p:ph type="body" idx="18"/>
          </p:nvPr>
        </p:nvSpPr>
        <p:spPr>
          <a:xfrm>
            <a:off x="8880600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" name="Google Shape;1681;p56"/>
          <p:cNvSpPr>
            <a:spLocks noGrp="1"/>
          </p:cNvSpPr>
          <p:nvPr>
            <p:ph type="pic" idx="19"/>
          </p:nvPr>
        </p:nvSpPr>
        <p:spPr>
          <a:xfrm>
            <a:off x="10585002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82" name="Google Shape;1682;p56"/>
          <p:cNvSpPr txBox="1">
            <a:spLocks noGrp="1"/>
          </p:cNvSpPr>
          <p:nvPr>
            <p:ph type="body" idx="20"/>
          </p:nvPr>
        </p:nvSpPr>
        <p:spPr>
          <a:xfrm>
            <a:off x="920738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56"/>
          <p:cNvSpPr txBox="1">
            <a:spLocks noGrp="1"/>
          </p:cNvSpPr>
          <p:nvPr>
            <p:ph type="body" idx="21"/>
          </p:nvPr>
        </p:nvSpPr>
        <p:spPr>
          <a:xfrm>
            <a:off x="3601140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4" name="Google Shape;1684;p56"/>
          <p:cNvSpPr txBox="1">
            <a:spLocks noGrp="1"/>
          </p:cNvSpPr>
          <p:nvPr>
            <p:ph type="body" idx="22"/>
          </p:nvPr>
        </p:nvSpPr>
        <p:spPr>
          <a:xfrm>
            <a:off x="6298117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" name="Google Shape;1685;p56"/>
          <p:cNvSpPr txBox="1">
            <a:spLocks noGrp="1"/>
          </p:cNvSpPr>
          <p:nvPr>
            <p:ph type="body" idx="23"/>
          </p:nvPr>
        </p:nvSpPr>
        <p:spPr>
          <a:xfrm>
            <a:off x="8977369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5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D683155-9509-43B7-7929-38B96E964627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762181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bg>
      <p:bgPr>
        <a:solidFill>
          <a:schemeClr val="lt1"/>
        </a:solidFill>
        <a:effectLst/>
      </p:bgPr>
    </p:bg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8" name="Google Shape;1688;p57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89" name="Google Shape;1689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90" name="Google Shape;1690;p57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91" name="Google Shape;1691;p57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92" name="Google Shape;1692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93" name="Google Shape;1693;p57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5" name="Google Shape;1695;p57"/>
          <p:cNvSpPr>
            <a:spLocks noGrp="1"/>
          </p:cNvSpPr>
          <p:nvPr>
            <p:ph type="pic" idx="2"/>
          </p:nvPr>
        </p:nvSpPr>
        <p:spPr>
          <a:xfrm>
            <a:off x="2362200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6" name="Google Shape;1696;p57"/>
          <p:cNvSpPr>
            <a:spLocks noGrp="1"/>
          </p:cNvSpPr>
          <p:nvPr>
            <p:ph type="pic" idx="3"/>
          </p:nvPr>
        </p:nvSpPr>
        <p:spPr>
          <a:xfrm>
            <a:off x="6100339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7" name="Google Shape;1697;p57"/>
          <p:cNvSpPr>
            <a:spLocks noGrp="1"/>
          </p:cNvSpPr>
          <p:nvPr>
            <p:ph type="pic" idx="4"/>
          </p:nvPr>
        </p:nvSpPr>
        <p:spPr>
          <a:xfrm>
            <a:off x="9807998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8" name="Google Shape;1698;p57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1991453-F70D-724D-A23C-F9D1FE70E10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675002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89251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24923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bg>
      <p:bgPr>
        <a:solidFill>
          <a:schemeClr val="lt1"/>
        </a:solidFill>
        <a:effectLst/>
      </p:bgPr>
    </p:bg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4" name="Google Shape;1724;p60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25" name="Google Shape;1725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26" name="Google Shape;1726;p60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27" name="Google Shape;1727;p60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2274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8" name="Google Shape;1728;p60"/>
          <p:cNvSpPr>
            <a:spLocks noGrp="1"/>
          </p:cNvSpPr>
          <p:nvPr>
            <p:ph type="chart" idx="2"/>
          </p:nvPr>
        </p:nvSpPr>
        <p:spPr>
          <a:xfrm>
            <a:off x="618089" y="3500581"/>
            <a:ext cx="10967360" cy="2741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29" name="Google Shape;1729;p60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30" name="Google Shape;1730;p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31" name="Google Shape;1731;p6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33" name="Google Shape;1733;p6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FA3BFF8-4796-1226-A46D-D7B71A1B593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98338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557331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710026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3523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59085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758228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814942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82090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005950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56884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6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8000"/>
          </a:blip>
          <a:srcRect l="756" r="7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8652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9" b="78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0019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72510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55602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3298600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6241598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26315" y="3691426"/>
            <a:ext cx="2310374" cy="86177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69781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12686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66420AF-A2C6-8BEB-8B49-E436B1247089}"/>
              </a:ext>
            </a:extLst>
          </p:cNvPr>
          <p:cNvSpPr>
            <a:spLocks noGrp="1"/>
          </p:cNvSpPr>
          <p:nvPr userDrawn="1">
            <p:ph type="pic" sz="quarter" idx="23"/>
          </p:nvPr>
        </p:nvSpPr>
        <p:spPr>
          <a:xfrm>
            <a:off x="9184597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F935C07-A2FD-EC74-C445-62A67840F6B4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9355592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781C5E85-9ADE-EED0-A84B-28FAA0B3D1B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6457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">
  <p:cSld name="11_Title Slid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p21"/>
          <p:cNvGrpSpPr/>
          <p:nvPr/>
        </p:nvGrpSpPr>
        <p:grpSpPr>
          <a:xfrm rot="10800000">
            <a:off x="-1521801" y="-1248075"/>
            <a:ext cx="5848979" cy="5709390"/>
            <a:chOff x="7397166" y="1622082"/>
            <a:chExt cx="5848979" cy="5709390"/>
          </a:xfrm>
        </p:grpSpPr>
        <p:sp>
          <p:nvSpPr>
            <p:cNvPr id="32" name="Google Shape;32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3" name="Google Shape;33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4" name="Google Shape;34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5" name="Google Shape;35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6" name="Google Shape;36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7" name="Google Shape;37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8" name="Google Shape;38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9" name="Google Shape;39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0" name="Google Shape;40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1" name="Google Shape;41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2" name="Google Shape;42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3" name="Google Shape;43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4" name="Google Shape;44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5" name="Google Shape;45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6" name="Google Shape;46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7" name="Google Shape;47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8" name="Google Shape;48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9" name="Google Shape;49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0" name="Google Shape;50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1" name="Google Shape;51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2" name="Google Shape;52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3" name="Google Shape;53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4" name="Google Shape;54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" name="Google Shape;55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" name="Google Shape;56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" name="Google Shape;57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" name="Google Shape;58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" name="Google Shape;59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" name="Google Shape;60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" name="Google Shape;61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" name="Google Shape;62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" name="Google Shape;63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" name="Google Shape;64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" name="Google Shape;65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" name="Google Shape;66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" name="Google Shape;67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8" name="Google Shape;68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9" name="Google Shape;69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0" name="Google Shape;70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1" name="Google Shape;71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2" name="Google Shape;72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3" name="Google Shape;73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4" name="Google Shape;74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5" name="Google Shape;75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6" name="Google Shape;76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7" name="Google Shape;77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8" name="Google Shape;78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9" name="Google Shape;79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0" name="Google Shape;80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1" name="Google Shape;81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2" name="Google Shape;82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3" name="Google Shape;83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4" name="Google Shape;84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5" name="Google Shape;85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6" name="Google Shape;86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7" name="Google Shape;87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8" name="Google Shape;88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9" name="Google Shape;89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0" name="Google Shape;90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1" name="Google Shape;91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2" name="Google Shape;92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3" name="Google Shape;93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4" name="Google Shape;94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5" name="Google Shape;95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6" name="Google Shape;96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7" name="Google Shape;97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8" name="Google Shape;98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9" name="Google Shape;99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0" name="Google Shape;100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1" name="Google Shape;101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2" name="Google Shape;102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3" name="Google Shape;103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4" name="Google Shape;104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5" name="Google Shape;105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6" name="Google Shape;106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7" name="Google Shape;107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8" name="Google Shape;108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" name="Google Shape;109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" name="Google Shape;110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1" name="Google Shape;111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2" name="Google Shape;112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3" name="Google Shape;113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4" name="Google Shape;114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5" name="Google Shape;115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6" name="Google Shape;116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7" name="Google Shape;117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8" name="Google Shape;118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9" name="Google Shape;119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0" name="Google Shape;120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1" name="Google Shape;121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2" name="Google Shape;122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" name="Google Shape;123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" name="Google Shape;124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" name="Google Shape;125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" name="Google Shape;126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" name="Google Shape;127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" name="Google Shape;128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" name="Google Shape;129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" name="Google Shape;130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" name="Google Shape;131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" name="Google Shape;132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" name="Google Shape;133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" name="Google Shape;134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" name="Google Shape;135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" name="Google Shape;136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" name="Google Shape;137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" name="Google Shape;138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" name="Google Shape;139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" name="Google Shape;140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" name="Google Shape;141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" name="Google Shape;142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" name="Google Shape;143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" name="Google Shape;144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" name="Google Shape;145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" name="Google Shape;146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" name="Google Shape;147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" name="Google Shape;148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" name="Google Shape;149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" name="Google Shape;150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" name="Google Shape;151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" name="Google Shape;152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3" name="Google Shape;153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154" name="Google Shape;154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" name="Google Shape;155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" name="Google Shape;156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" name="Google Shape;157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" name="Google Shape;158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" name="Google Shape;159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0" name="Google Shape;160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1" name="Google Shape;161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2" name="Google Shape;162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3" name="Google Shape;163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4" name="Google Shape;164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5" name="Google Shape;165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6" name="Google Shape;166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7" name="Google Shape;167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8" name="Google Shape;168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9" name="Google Shape;169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0" name="Google Shape;170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1" name="Google Shape;171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2" name="Google Shape;172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3" name="Google Shape;173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4" name="Google Shape;174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5" name="Google Shape;175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6" name="Google Shape;176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7" name="Google Shape;177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8" name="Google Shape;178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9" name="Google Shape;179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0" name="Google Shape;180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1" name="Google Shape;181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2" name="Google Shape;182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3" name="Google Shape;183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4" name="Google Shape;184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5" name="Google Shape;185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6" name="Google Shape;186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7" name="Google Shape;187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8" name="Google Shape;188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9" name="Google Shape;189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0" name="Google Shape;190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1" name="Google Shape;191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2" name="Google Shape;192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3" name="Google Shape;193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4" name="Google Shape;194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5" name="Google Shape;195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6" name="Google Shape;196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7" name="Google Shape;197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8" name="Google Shape;198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9" name="Google Shape;199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0" name="Google Shape;200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1" name="Google Shape;201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2" name="Google Shape;202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3" name="Google Shape;203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4" name="Google Shape;204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5" name="Google Shape;205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6" name="Google Shape;206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7" name="Google Shape;207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8" name="Google Shape;208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9" name="Google Shape;209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0" name="Google Shape;210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2" name="Google Shape;212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3" name="Google Shape;213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4" name="Google Shape;214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5" name="Google Shape;215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6" name="Google Shape;216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7" name="Google Shape;217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8" name="Google Shape;218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9" name="Google Shape;219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0" name="Google Shape;220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1" name="Google Shape;221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2" name="Google Shape;222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3" name="Google Shape;223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4" name="Google Shape;224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5" name="Google Shape;225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6" name="Google Shape;226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7" name="Google Shape;227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8" name="Google Shape;228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9" name="Google Shape;229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0" name="Google Shape;230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1" name="Google Shape;231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2" name="Google Shape;232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3" name="Google Shape;233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4" name="Google Shape;234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5" name="Google Shape;235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6" name="Google Shape;236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7" name="Google Shape;237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8" name="Google Shape;238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9" name="Google Shape;239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0" name="Google Shape;240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1" name="Google Shape;241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2" name="Google Shape;242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3" name="Google Shape;243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4" name="Google Shape;244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5" name="Google Shape;245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6" name="Google Shape;246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7" name="Google Shape;247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8" name="Google Shape;248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9" name="Google Shape;249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0" name="Google Shape;250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1" name="Google Shape;251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2" name="Google Shape;252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3" name="Google Shape;253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4" name="Google Shape;254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5" name="Google Shape;255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6" name="Google Shape;256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7" name="Google Shape;257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8" name="Google Shape;258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9" name="Google Shape;259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0" name="Google Shape;260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1" name="Google Shape;261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2" name="Google Shape;262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3" name="Google Shape;263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4" name="Google Shape;264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5" name="Google Shape;265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6" name="Google Shape;266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7" name="Google Shape;267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8" name="Google Shape;268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9" name="Google Shape;269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0" name="Google Shape;270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1" name="Google Shape;271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2" name="Google Shape;272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3" name="Google Shape;273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4" name="Google Shape;274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5" name="Google Shape;275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6" name="Google Shape;276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7" name="Google Shape;277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8" name="Google Shape;278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9" name="Google Shape;279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0" name="Google Shape;280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1" name="Google Shape;281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2" name="Google Shape;282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3" name="Google Shape;283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4" name="Google Shape;284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5" name="Google Shape;285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6" name="Google Shape;286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7" name="Google Shape;287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8" name="Google Shape;288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9" name="Google Shape;289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0" name="Google Shape;290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1" name="Google Shape;291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2" name="Google Shape;292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3" name="Google Shape;293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4" name="Google Shape;294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5" name="Google Shape;295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6" name="Google Shape;296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7" name="Google Shape;297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8" name="Google Shape;298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9" name="Google Shape;299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0" name="Google Shape;300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1" name="Google Shape;301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2" name="Google Shape;302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3" name="Google Shape;303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4" name="Google Shape;304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5" name="Google Shape;305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6" name="Google Shape;306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7" name="Google Shape;307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8" name="Google Shape;308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9" name="Google Shape;309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0" name="Google Shape;310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1" name="Google Shape;311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2" name="Google Shape;312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3" name="Google Shape;313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4" name="Google Shape;314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5" name="Google Shape;315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6" name="Google Shape;316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7" name="Google Shape;317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8" name="Google Shape;318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9" name="Google Shape;319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0" name="Google Shape;320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1" name="Google Shape;321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2" name="Google Shape;322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3" name="Google Shape;323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4" name="Google Shape;324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5" name="Google Shape;325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6" name="Google Shape;326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7" name="Google Shape;327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8" name="Google Shape;328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9" name="Google Shape;329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0" name="Google Shape;330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1" name="Google Shape;331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2" name="Google Shape;332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3" name="Google Shape;333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4" name="Google Shape;334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5" name="Google Shape;335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6" name="Google Shape;336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7" name="Google Shape;337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8" name="Google Shape;338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9" name="Google Shape;339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0" name="Google Shape;340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1" name="Google Shape;341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2" name="Google Shape;342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3" name="Google Shape;343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4" name="Google Shape;344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5" name="Google Shape;345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6" name="Google Shape;346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7" name="Google Shape;347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8" name="Google Shape;348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9" name="Google Shape;349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0" name="Google Shape;350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1" name="Google Shape;351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2" name="Google Shape;352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3" name="Google Shape;353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4" name="Google Shape;354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5" name="Google Shape;355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6" name="Google Shape;356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7" name="Google Shape;357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8" name="Google Shape;358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9" name="Google Shape;359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0" name="Google Shape;360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1" name="Google Shape;361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2" name="Google Shape;362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3" name="Google Shape;363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4" name="Google Shape;364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5" name="Google Shape;365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6" name="Google Shape;366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7" name="Google Shape;367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8" name="Google Shape;368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9" name="Google Shape;369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0" name="Google Shape;370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1" name="Google Shape;371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2" name="Google Shape;372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3" name="Google Shape;373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4" name="Google Shape;374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5" name="Google Shape;375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6" name="Google Shape;376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7" name="Google Shape;377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8" name="Google Shape;378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9" name="Google Shape;379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0" name="Google Shape;380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1" name="Google Shape;381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2" name="Google Shape;382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3" name="Google Shape;383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4" name="Google Shape;384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5" name="Google Shape;385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6" name="Google Shape;386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7" name="Google Shape;387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8" name="Google Shape;388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9" name="Google Shape;389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0" name="Google Shape;390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1" name="Google Shape;391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2" name="Google Shape;392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3" name="Google Shape;393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4" name="Google Shape;394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5" name="Google Shape;395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6" name="Google Shape;396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7" name="Google Shape;397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8" name="Google Shape;398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9" name="Google Shape;399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0" name="Google Shape;400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1" name="Google Shape;401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2" name="Google Shape;402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3" name="Google Shape;403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4" name="Google Shape;404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5" name="Google Shape;405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6" name="Google Shape;406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7" name="Google Shape;407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8" name="Google Shape;408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9" name="Google Shape;409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0" name="Google Shape;410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1" name="Google Shape;411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2" name="Google Shape;412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3" name="Google Shape;413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4" name="Google Shape;414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5" name="Google Shape;415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6" name="Google Shape;416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7" name="Google Shape;417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8" name="Google Shape;418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9" name="Google Shape;419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0" name="Google Shape;420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1" name="Google Shape;421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2" name="Google Shape;422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3" name="Google Shape;423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4" name="Google Shape;424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5" name="Google Shape;425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6" name="Google Shape;426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7" name="Google Shape;427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8" name="Google Shape;428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9" name="Google Shape;429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0" name="Google Shape;430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1" name="Google Shape;431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2" name="Google Shape;432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3" name="Google Shape;433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4" name="Google Shape;434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5" name="Google Shape;435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6" name="Google Shape;436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7" name="Google Shape;437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8" name="Google Shape;438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9" name="Google Shape;439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0" name="Google Shape;440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1" name="Google Shape;441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2" name="Google Shape;442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3" name="Google Shape;443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444" name="Google Shape;444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445" name="Google Shape;445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6" name="Google Shape;446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7" name="Google Shape;447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8" name="Google Shape;448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9" name="Google Shape;449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0" name="Google Shape;450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1" name="Google Shape;451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2" name="Google Shape;452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3" name="Google Shape;453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4" name="Google Shape;454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5" name="Google Shape;455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6" name="Google Shape;456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7" name="Google Shape;457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8" name="Google Shape;458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9" name="Google Shape;459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0" name="Google Shape;460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1" name="Google Shape;461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2" name="Google Shape;462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3" name="Google Shape;463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4" name="Google Shape;464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5" name="Google Shape;465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6" name="Google Shape;466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7" name="Google Shape;467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8" name="Google Shape;468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9" name="Google Shape;469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0" name="Google Shape;470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1" name="Google Shape;471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2" name="Google Shape;472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3" name="Google Shape;473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4" name="Google Shape;474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5" name="Google Shape;475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6" name="Google Shape;476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7" name="Google Shape;477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8" name="Google Shape;478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9" name="Google Shape;479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0" name="Google Shape;480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1" name="Google Shape;481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2" name="Google Shape;482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3" name="Google Shape;483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4" name="Google Shape;484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5" name="Google Shape;485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6" name="Google Shape;486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7" name="Google Shape;487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8" name="Google Shape;488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9" name="Google Shape;489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0" name="Google Shape;490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1" name="Google Shape;491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2" name="Google Shape;492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3" name="Google Shape;493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4" name="Google Shape;494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5" name="Google Shape;495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6" name="Google Shape;496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7" name="Google Shape;497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8" name="Google Shape;498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9" name="Google Shape;499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0" name="Google Shape;500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1" name="Google Shape;501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2" name="Google Shape;502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3" name="Google Shape;503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4" name="Google Shape;504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5" name="Google Shape;505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6" name="Google Shape;506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7" name="Google Shape;507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8" name="Google Shape;508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9" name="Google Shape;509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0" name="Google Shape;510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1" name="Google Shape;511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2" name="Google Shape;512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513" name="Google Shape;513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4" name="Google Shape;514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5" name="Google Shape;515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6" name="Google Shape;516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7" name="Google Shape;517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8" name="Google Shape;518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9" name="Google Shape;519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0" name="Google Shape;520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1" name="Google Shape;521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2" name="Google Shape;522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3" name="Google Shape;523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4" name="Google Shape;524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5" name="Google Shape;525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6" name="Google Shape;526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7" name="Google Shape;527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8" name="Google Shape;528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9" name="Google Shape;529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0" name="Google Shape;530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1" name="Google Shape;531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2" name="Google Shape;532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3" name="Google Shape;533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4" name="Google Shape;534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5" name="Google Shape;535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6" name="Google Shape;536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7" name="Google Shape;537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8" name="Google Shape;538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9" name="Google Shape;539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0" name="Google Shape;540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1" name="Google Shape;541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2" name="Google Shape;542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3" name="Google Shape;543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4" name="Google Shape;544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5" name="Google Shape;545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6" name="Google Shape;546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7" name="Google Shape;547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8" name="Google Shape;548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9" name="Google Shape;549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pic>
        <p:nvPicPr>
          <p:cNvPr id="550" name="Google Shape;550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38295" y="168911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551" name="Google Shape;551;p21"/>
          <p:cNvSpPr txBox="1">
            <a:spLocks noGrp="1"/>
          </p:cNvSpPr>
          <p:nvPr>
            <p:ph type="ctrTitle"/>
          </p:nvPr>
        </p:nvSpPr>
        <p:spPr>
          <a:xfrm>
            <a:off x="1394012" y="3446249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2" name="Google Shape;552;p21"/>
          <p:cNvGrpSpPr/>
          <p:nvPr/>
        </p:nvGrpSpPr>
        <p:grpSpPr>
          <a:xfrm>
            <a:off x="7397166" y="1622082"/>
            <a:ext cx="5848979" cy="5709390"/>
            <a:chOff x="7397166" y="1622082"/>
            <a:chExt cx="5848979" cy="5709390"/>
          </a:xfrm>
        </p:grpSpPr>
        <p:sp>
          <p:nvSpPr>
            <p:cNvPr id="553" name="Google Shape;553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4" name="Google Shape;554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5" name="Google Shape;555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6" name="Google Shape;556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7" name="Google Shape;557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8" name="Google Shape;558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9" name="Google Shape;559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0" name="Google Shape;560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1" name="Google Shape;561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2" name="Google Shape;562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3" name="Google Shape;563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4" name="Google Shape;564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5" name="Google Shape;565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6" name="Google Shape;566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7" name="Google Shape;567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8" name="Google Shape;568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9" name="Google Shape;569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0" name="Google Shape;570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1" name="Google Shape;571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2" name="Google Shape;572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3" name="Google Shape;573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4" name="Google Shape;574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5" name="Google Shape;575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6" name="Google Shape;576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7" name="Google Shape;577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8" name="Google Shape;578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9" name="Google Shape;579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0" name="Google Shape;580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1" name="Google Shape;581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2" name="Google Shape;582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3" name="Google Shape;583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4" name="Google Shape;584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5" name="Google Shape;585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6" name="Google Shape;586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7" name="Google Shape;587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8" name="Google Shape;588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9" name="Google Shape;589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0" name="Google Shape;590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1" name="Google Shape;591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2" name="Google Shape;592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3" name="Google Shape;593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4" name="Google Shape;594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5" name="Google Shape;595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6" name="Google Shape;596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7" name="Google Shape;597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8" name="Google Shape;598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9" name="Google Shape;599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0" name="Google Shape;600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1" name="Google Shape;601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2" name="Google Shape;602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3" name="Google Shape;603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4" name="Google Shape;604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5" name="Google Shape;605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6" name="Google Shape;606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7" name="Google Shape;607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8" name="Google Shape;608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9" name="Google Shape;609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0" name="Google Shape;610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1" name="Google Shape;611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2" name="Google Shape;612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3" name="Google Shape;613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4" name="Google Shape;614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5" name="Google Shape;615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6" name="Google Shape;616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7" name="Google Shape;617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8" name="Google Shape;618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9" name="Google Shape;619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0" name="Google Shape;620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1" name="Google Shape;621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2" name="Google Shape;622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3" name="Google Shape;623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4" name="Google Shape;624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5" name="Google Shape;625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6" name="Google Shape;626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7" name="Google Shape;627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8" name="Google Shape;628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9" name="Google Shape;629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0" name="Google Shape;630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1" name="Google Shape;631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2" name="Google Shape;632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3" name="Google Shape;633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4" name="Google Shape;634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5" name="Google Shape;635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6" name="Google Shape;636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7" name="Google Shape;637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8" name="Google Shape;638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9" name="Google Shape;639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0" name="Google Shape;640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1" name="Google Shape;641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2" name="Google Shape;642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3" name="Google Shape;643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4" name="Google Shape;644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5" name="Google Shape;645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6" name="Google Shape;646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7" name="Google Shape;647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8" name="Google Shape;648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9" name="Google Shape;649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0" name="Google Shape;650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1" name="Google Shape;651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2" name="Google Shape;652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3" name="Google Shape;653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4" name="Google Shape;654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5" name="Google Shape;655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6" name="Google Shape;656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7" name="Google Shape;657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8" name="Google Shape;658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9" name="Google Shape;659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0" name="Google Shape;660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1" name="Google Shape;661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2" name="Google Shape;662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3" name="Google Shape;663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4" name="Google Shape;664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5" name="Google Shape;665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6" name="Google Shape;666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7" name="Google Shape;667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8" name="Google Shape;668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9" name="Google Shape;669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0" name="Google Shape;670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1" name="Google Shape;671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2" name="Google Shape;672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3" name="Google Shape;673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674" name="Google Shape;674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675" name="Google Shape;675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6" name="Google Shape;676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7" name="Google Shape;677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8" name="Google Shape;678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9" name="Google Shape;679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0" name="Google Shape;680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1" name="Google Shape;681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2" name="Google Shape;682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3" name="Google Shape;683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4" name="Google Shape;684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5" name="Google Shape;685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6" name="Google Shape;686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7" name="Google Shape;687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8" name="Google Shape;688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9" name="Google Shape;689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0" name="Google Shape;690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1" name="Google Shape;691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2" name="Google Shape;692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3" name="Google Shape;693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4" name="Google Shape;694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5" name="Google Shape;695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6" name="Google Shape;696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7" name="Google Shape;697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8" name="Google Shape;698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9" name="Google Shape;699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0" name="Google Shape;700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1" name="Google Shape;701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2" name="Google Shape;702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3" name="Google Shape;703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4" name="Google Shape;704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5" name="Google Shape;705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6" name="Google Shape;706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7" name="Google Shape;707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8" name="Google Shape;708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9" name="Google Shape;709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0" name="Google Shape;710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1" name="Google Shape;711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2" name="Google Shape;712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3" name="Google Shape;713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4" name="Google Shape;714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5" name="Google Shape;715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6" name="Google Shape;716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7" name="Google Shape;717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8" name="Google Shape;718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9" name="Google Shape;719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0" name="Google Shape;720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1" name="Google Shape;721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2" name="Google Shape;722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3" name="Google Shape;723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4" name="Google Shape;724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5" name="Google Shape;725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6" name="Google Shape;726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7" name="Google Shape;727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8" name="Google Shape;728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9" name="Google Shape;729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0" name="Google Shape;730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1" name="Google Shape;731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2" name="Google Shape;732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3" name="Google Shape;733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4" name="Google Shape;734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5" name="Google Shape;735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6" name="Google Shape;736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7" name="Google Shape;737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8" name="Google Shape;738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9" name="Google Shape;739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0" name="Google Shape;740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1" name="Google Shape;741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2" name="Google Shape;742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3" name="Google Shape;743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4" name="Google Shape;744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5" name="Google Shape;745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6" name="Google Shape;746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7" name="Google Shape;747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8" name="Google Shape;748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9" name="Google Shape;749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0" name="Google Shape;750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1" name="Google Shape;751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2" name="Google Shape;752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3" name="Google Shape;753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4" name="Google Shape;754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5" name="Google Shape;755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6" name="Google Shape;756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7" name="Google Shape;757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8" name="Google Shape;758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9" name="Google Shape;759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0" name="Google Shape;760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1" name="Google Shape;761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2" name="Google Shape;762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3" name="Google Shape;763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4" name="Google Shape;764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5" name="Google Shape;765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6" name="Google Shape;766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7" name="Google Shape;767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8" name="Google Shape;768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9" name="Google Shape;769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0" name="Google Shape;770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1" name="Google Shape;771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2" name="Google Shape;772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3" name="Google Shape;773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4" name="Google Shape;774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5" name="Google Shape;775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6" name="Google Shape;776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7" name="Google Shape;777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8" name="Google Shape;778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9" name="Google Shape;779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0" name="Google Shape;780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1" name="Google Shape;781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2" name="Google Shape;782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3" name="Google Shape;783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4" name="Google Shape;784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5" name="Google Shape;785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6" name="Google Shape;786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7" name="Google Shape;787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8" name="Google Shape;788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9" name="Google Shape;789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0" name="Google Shape;790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1" name="Google Shape;791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2" name="Google Shape;792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3" name="Google Shape;793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4" name="Google Shape;794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5" name="Google Shape;795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6" name="Google Shape;796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7" name="Google Shape;797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8" name="Google Shape;798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9" name="Google Shape;799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0" name="Google Shape;800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1" name="Google Shape;801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2" name="Google Shape;802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3" name="Google Shape;803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4" name="Google Shape;804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5" name="Google Shape;805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6" name="Google Shape;806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7" name="Google Shape;807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8" name="Google Shape;808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9" name="Google Shape;809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0" name="Google Shape;810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1" name="Google Shape;811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2" name="Google Shape;812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3" name="Google Shape;813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4" name="Google Shape;814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5" name="Google Shape;815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6" name="Google Shape;816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7" name="Google Shape;817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8" name="Google Shape;818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9" name="Google Shape;819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0" name="Google Shape;820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1" name="Google Shape;821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2" name="Google Shape;822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3" name="Google Shape;823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4" name="Google Shape;824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5" name="Google Shape;825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6" name="Google Shape;826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7" name="Google Shape;827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8" name="Google Shape;828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9" name="Google Shape;829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0" name="Google Shape;830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1" name="Google Shape;831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2" name="Google Shape;832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3" name="Google Shape;833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4" name="Google Shape;834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5" name="Google Shape;835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6" name="Google Shape;836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7" name="Google Shape;837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8" name="Google Shape;838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9" name="Google Shape;839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0" name="Google Shape;840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1" name="Google Shape;841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2" name="Google Shape;842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3" name="Google Shape;843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4" name="Google Shape;844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5" name="Google Shape;845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6" name="Google Shape;846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7" name="Google Shape;847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8" name="Google Shape;848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9" name="Google Shape;849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0" name="Google Shape;850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1" name="Google Shape;851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2" name="Google Shape;852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3" name="Google Shape;853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4" name="Google Shape;854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5" name="Google Shape;855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6" name="Google Shape;856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7" name="Google Shape;857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8" name="Google Shape;858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9" name="Google Shape;859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0" name="Google Shape;860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1" name="Google Shape;861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2" name="Google Shape;862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3" name="Google Shape;863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4" name="Google Shape;864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5" name="Google Shape;865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6" name="Google Shape;866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7" name="Google Shape;867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8" name="Google Shape;868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9" name="Google Shape;869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0" name="Google Shape;870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1" name="Google Shape;871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2" name="Google Shape;872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3" name="Google Shape;873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4" name="Google Shape;874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5" name="Google Shape;875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6" name="Google Shape;876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7" name="Google Shape;877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8" name="Google Shape;878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9" name="Google Shape;879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0" name="Google Shape;880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1" name="Google Shape;881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2" name="Google Shape;882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3" name="Google Shape;883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4" name="Google Shape;884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5" name="Google Shape;885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6" name="Google Shape;886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7" name="Google Shape;887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8" name="Google Shape;888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9" name="Google Shape;889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0" name="Google Shape;890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1" name="Google Shape;891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2" name="Google Shape;892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3" name="Google Shape;893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4" name="Google Shape;894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5" name="Google Shape;895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6" name="Google Shape;896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7" name="Google Shape;897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8" name="Google Shape;898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9" name="Google Shape;899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0" name="Google Shape;900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1" name="Google Shape;901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2" name="Google Shape;902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3" name="Google Shape;903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4" name="Google Shape;904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5" name="Google Shape;905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6" name="Google Shape;906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7" name="Google Shape;907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8" name="Google Shape;908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9" name="Google Shape;909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0" name="Google Shape;910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1" name="Google Shape;911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2" name="Google Shape;912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3" name="Google Shape;913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4" name="Google Shape;914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5" name="Google Shape;915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6" name="Google Shape;916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7" name="Google Shape;917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8" name="Google Shape;918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9" name="Google Shape;919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0" name="Google Shape;920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1" name="Google Shape;921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2" name="Google Shape;922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3" name="Google Shape;923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4" name="Google Shape;924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5" name="Google Shape;925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6" name="Google Shape;926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7" name="Google Shape;927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8" name="Google Shape;928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9" name="Google Shape;929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0" name="Google Shape;930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1" name="Google Shape;931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2" name="Google Shape;932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3" name="Google Shape;933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4" name="Google Shape;934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5" name="Google Shape;935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6" name="Google Shape;936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7" name="Google Shape;937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8" name="Google Shape;938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9" name="Google Shape;939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0" name="Google Shape;940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1" name="Google Shape;941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2" name="Google Shape;942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3" name="Google Shape;943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4" name="Google Shape;944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5" name="Google Shape;945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6" name="Google Shape;946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" name="Google Shape;947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" name="Google Shape;948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" name="Google Shape;949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0" name="Google Shape;950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1" name="Google Shape;951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2" name="Google Shape;952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3" name="Google Shape;953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4" name="Google Shape;954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5" name="Google Shape;955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6" name="Google Shape;956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7" name="Google Shape;957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8" name="Google Shape;958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9" name="Google Shape;959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0" name="Google Shape;960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1" name="Google Shape;961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2" name="Google Shape;962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3" name="Google Shape;963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4" name="Google Shape;964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965" name="Google Shape;965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966" name="Google Shape;966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7" name="Google Shape;967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8" name="Google Shape;968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9" name="Google Shape;969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0" name="Google Shape;970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1" name="Google Shape;971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2" name="Google Shape;972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3" name="Google Shape;973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4" name="Google Shape;974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5" name="Google Shape;975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6" name="Google Shape;976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7" name="Google Shape;977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8" name="Google Shape;978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9" name="Google Shape;979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0" name="Google Shape;980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1" name="Google Shape;981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2" name="Google Shape;982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3" name="Google Shape;983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4" name="Google Shape;984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5" name="Google Shape;985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6" name="Google Shape;986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7" name="Google Shape;987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8" name="Google Shape;988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9" name="Google Shape;989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0" name="Google Shape;990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1" name="Google Shape;991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2" name="Google Shape;992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3" name="Google Shape;993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4" name="Google Shape;994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5" name="Google Shape;995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6" name="Google Shape;996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7" name="Google Shape;997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8" name="Google Shape;998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9" name="Google Shape;999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0" name="Google Shape;1000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1" name="Google Shape;1001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2" name="Google Shape;1002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3" name="Google Shape;1003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4" name="Google Shape;1004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5" name="Google Shape;1005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6" name="Google Shape;1006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7" name="Google Shape;1007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8" name="Google Shape;1008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9" name="Google Shape;1009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0" name="Google Shape;1010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1" name="Google Shape;1011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2" name="Google Shape;1012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3" name="Google Shape;1013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4" name="Google Shape;1014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5" name="Google Shape;1015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6" name="Google Shape;1016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7" name="Google Shape;1017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8" name="Google Shape;1018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9" name="Google Shape;1019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0" name="Google Shape;1020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1" name="Google Shape;1021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2" name="Google Shape;1022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3" name="Google Shape;1023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4" name="Google Shape;1024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5" name="Google Shape;1025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6" name="Google Shape;1026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7" name="Google Shape;1027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8" name="Google Shape;1028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9" name="Google Shape;1029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0" name="Google Shape;1030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1" name="Google Shape;1031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2" name="Google Shape;1032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3" name="Google Shape;1033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1034" name="Google Shape;1034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5" name="Google Shape;1035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6" name="Google Shape;1036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7" name="Google Shape;1037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8" name="Google Shape;1038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9" name="Google Shape;1039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0" name="Google Shape;1040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1" name="Google Shape;1041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2" name="Google Shape;1042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3" name="Google Shape;1043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4" name="Google Shape;1044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5" name="Google Shape;1045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6" name="Google Shape;1046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7" name="Google Shape;1047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8" name="Google Shape;1048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9" name="Google Shape;1049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0" name="Google Shape;1050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1" name="Google Shape;1051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2" name="Google Shape;1052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3" name="Google Shape;1053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4" name="Google Shape;1054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5" name="Google Shape;1055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6" name="Google Shape;1056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7" name="Google Shape;1057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8" name="Google Shape;1058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9" name="Google Shape;1059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0" name="Google Shape;1060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1" name="Google Shape;1061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2" name="Google Shape;1062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3" name="Google Shape;1063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4" name="Google Shape;1064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5" name="Google Shape;1065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6" name="Google Shape;1066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7" name="Google Shape;1067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8" name="Google Shape;1068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9" name="Google Shape;1069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70" name="Google Shape;1070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sp>
        <p:nvSpPr>
          <p:cNvPr id="1071" name="Google Shape;1071;p21"/>
          <p:cNvSpPr/>
          <p:nvPr/>
        </p:nvSpPr>
        <p:spPr>
          <a:xfrm>
            <a:off x="3417952" y="3016541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2" name="Google Shape;1072;p21"/>
          <p:cNvSpPr/>
          <p:nvPr/>
        </p:nvSpPr>
        <p:spPr>
          <a:xfrm>
            <a:off x="3417952" y="4362143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4" name="Google Shape;1074;p2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D45C9D-18FD-BB58-F9A5-2FA748DBF39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1358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>
            <a:alphaModFix/>
          </a:blip>
          <a:srcRect l="22060" r="17687" b="21526"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279215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60" r:id="rId8"/>
    <p:sldLayoutId id="2147483664" r:id="rId9"/>
    <p:sldLayoutId id="2147483665" r:id="rId10"/>
    <p:sldLayoutId id="2147483666" r:id="rId11"/>
    <p:sldLayoutId id="2147483667" r:id="rId12"/>
    <p:sldLayoutId id="2147483669" r:id="rId13"/>
    <p:sldLayoutId id="2147483670" r:id="rId14"/>
    <p:sldLayoutId id="2147483671" r:id="rId15"/>
    <p:sldLayoutId id="2147483672" r:id="rId16"/>
    <p:sldLayoutId id="2147483679" r:id="rId17"/>
    <p:sldLayoutId id="2147483680" r:id="rId18"/>
    <p:sldLayoutId id="2147483681" r:id="rId19"/>
    <p:sldLayoutId id="2147483686" r:id="rId20"/>
    <p:sldLayoutId id="2147483688" r:id="rId2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17693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8" name="Google Shape;3158;p1"/>
          <p:cNvSpPr txBox="1">
            <a:spLocks noGrp="1"/>
          </p:cNvSpPr>
          <p:nvPr>
            <p:ph type="ctrTitle"/>
          </p:nvPr>
        </p:nvSpPr>
        <p:spPr>
          <a:xfrm>
            <a:off x="489771" y="2375691"/>
            <a:ext cx="8003989" cy="923330"/>
          </a:xfrm>
        </p:spPr>
        <p:txBody>
          <a:bodyPr/>
          <a:lstStyle/>
          <a:p>
            <a:pPr lvl="0"/>
            <a:r>
              <a:rPr lang="en-US" sz="6000" dirty="0"/>
              <a:t>Pandas 1 - Liners</a:t>
            </a:r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7" name="Google Shape;9497;p5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4157405" cy="492443"/>
          </a:xfrm>
        </p:spPr>
        <p:txBody>
          <a:bodyPr/>
          <a:lstStyle/>
          <a:p>
            <a:pPr lvl="0"/>
            <a:r>
              <a:rPr lang="en-IN" dirty="0"/>
              <a:t>Agenda</a:t>
            </a:r>
          </a:p>
        </p:txBody>
      </p:sp>
      <p:grpSp>
        <p:nvGrpSpPr>
          <p:cNvPr id="9537" name="Group 9536">
            <a:extLst>
              <a:ext uri="{FF2B5EF4-FFF2-40B4-BE49-F238E27FC236}">
                <a16:creationId xmlns:a16="http://schemas.microsoft.com/office/drawing/2014/main" id="{617646E6-E2AC-113E-0CF6-8CBEDA305D0D}"/>
              </a:ext>
            </a:extLst>
          </p:cNvPr>
          <p:cNvGrpSpPr/>
          <p:nvPr/>
        </p:nvGrpSpPr>
        <p:grpSpPr>
          <a:xfrm>
            <a:off x="476251" y="1466040"/>
            <a:ext cx="863600" cy="863600"/>
            <a:chOff x="476251" y="1248344"/>
            <a:chExt cx="863600" cy="863600"/>
          </a:xfrm>
        </p:grpSpPr>
        <p:sp>
          <p:nvSpPr>
            <p:cNvPr id="9518" name="Oval 9517">
              <a:extLst>
                <a:ext uri="{FF2B5EF4-FFF2-40B4-BE49-F238E27FC236}">
                  <a16:creationId xmlns:a16="http://schemas.microsoft.com/office/drawing/2014/main" id="{91D6BCA3-CDC7-75A7-C59B-B61AF81857A1}"/>
                </a:ext>
              </a:extLst>
            </p:cNvPr>
            <p:cNvSpPr/>
            <p:nvPr/>
          </p:nvSpPr>
          <p:spPr>
            <a:xfrm>
              <a:off x="476251" y="1248344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74" name="Google Shape;9522;p5">
              <a:extLst>
                <a:ext uri="{FF2B5EF4-FFF2-40B4-BE49-F238E27FC236}">
                  <a16:creationId xmlns:a16="http://schemas.microsoft.com/office/drawing/2014/main" id="{9C843208-53EF-79DA-4983-E05AE643742B}"/>
                </a:ext>
              </a:extLst>
            </p:cNvPr>
            <p:cNvGrpSpPr/>
            <p:nvPr/>
          </p:nvGrpSpPr>
          <p:grpSpPr>
            <a:xfrm>
              <a:off x="686222" y="1431334"/>
              <a:ext cx="443659" cy="497620"/>
              <a:chOff x="33861373" y="9493843"/>
              <a:chExt cx="2567635" cy="2879928"/>
            </a:xfrm>
          </p:grpSpPr>
          <p:sp>
            <p:nvSpPr>
              <p:cNvPr id="9475" name="Google Shape;9523;p5">
                <a:extLst>
                  <a:ext uri="{FF2B5EF4-FFF2-40B4-BE49-F238E27FC236}">
                    <a16:creationId xmlns:a16="http://schemas.microsoft.com/office/drawing/2014/main" id="{32AC4274-D7E7-71C7-C3BF-D7D4B39C1D05}"/>
                  </a:ext>
                </a:extLst>
              </p:cNvPr>
              <p:cNvSpPr/>
              <p:nvPr/>
            </p:nvSpPr>
            <p:spPr>
              <a:xfrm>
                <a:off x="34793255" y="10136372"/>
                <a:ext cx="328948" cy="648444"/>
              </a:xfrm>
              <a:custGeom>
                <a:avLst/>
                <a:gdLst/>
                <a:ahLst/>
                <a:cxnLst/>
                <a:rect l="l" t="t" r="r" b="b"/>
                <a:pathLst>
                  <a:path w="328948" h="648444" extrusionOk="0">
                    <a:moveTo>
                      <a:pt x="164703" y="136815"/>
                    </a:moveTo>
                    <a:cubicBezTo>
                      <a:pt x="212849" y="136815"/>
                      <a:pt x="252005" y="170563"/>
                      <a:pt x="252005" y="211956"/>
                    </a:cubicBezTo>
                    <a:cubicBezTo>
                      <a:pt x="252005" y="233108"/>
                      <a:pt x="269096" y="250199"/>
                      <a:pt x="290248" y="250199"/>
                    </a:cubicBezTo>
                    <a:cubicBezTo>
                      <a:pt x="311400" y="250199"/>
                      <a:pt x="328492" y="233107"/>
                      <a:pt x="328492" y="211956"/>
                    </a:cubicBezTo>
                    <a:cubicBezTo>
                      <a:pt x="328492" y="140400"/>
                      <a:pt x="274480" y="80549"/>
                      <a:pt x="202489" y="64803"/>
                    </a:cubicBezTo>
                    <a:lnTo>
                      <a:pt x="202489" y="38244"/>
                    </a:lnTo>
                    <a:cubicBezTo>
                      <a:pt x="202489" y="17091"/>
                      <a:pt x="185398" y="0"/>
                      <a:pt x="164246" y="0"/>
                    </a:cubicBezTo>
                    <a:cubicBezTo>
                      <a:pt x="143094" y="0"/>
                      <a:pt x="126002" y="17092"/>
                      <a:pt x="126002" y="38244"/>
                    </a:cubicBezTo>
                    <a:lnTo>
                      <a:pt x="126002" y="64803"/>
                    </a:lnTo>
                    <a:cubicBezTo>
                      <a:pt x="54012" y="81004"/>
                      <a:pt x="0" y="140400"/>
                      <a:pt x="0" y="211956"/>
                    </a:cubicBezTo>
                    <a:cubicBezTo>
                      <a:pt x="0" y="295651"/>
                      <a:pt x="73794" y="364062"/>
                      <a:pt x="164246" y="364062"/>
                    </a:cubicBezTo>
                    <a:cubicBezTo>
                      <a:pt x="212393" y="364062"/>
                      <a:pt x="251549" y="397810"/>
                      <a:pt x="251549" y="439203"/>
                    </a:cubicBezTo>
                    <a:cubicBezTo>
                      <a:pt x="251549" y="480596"/>
                      <a:pt x="212393" y="514344"/>
                      <a:pt x="164246" y="514344"/>
                    </a:cubicBezTo>
                    <a:cubicBezTo>
                      <a:pt x="116100" y="514344"/>
                      <a:pt x="76944" y="480596"/>
                      <a:pt x="76944" y="439203"/>
                    </a:cubicBezTo>
                    <a:cubicBezTo>
                      <a:pt x="76944" y="418051"/>
                      <a:pt x="59852" y="400960"/>
                      <a:pt x="38701" y="400960"/>
                    </a:cubicBezTo>
                    <a:cubicBezTo>
                      <a:pt x="17548" y="400960"/>
                      <a:pt x="457" y="418051"/>
                      <a:pt x="457" y="439203"/>
                    </a:cubicBezTo>
                    <a:cubicBezTo>
                      <a:pt x="457" y="510759"/>
                      <a:pt x="54469" y="570610"/>
                      <a:pt x="126459" y="586356"/>
                    </a:cubicBezTo>
                    <a:lnTo>
                      <a:pt x="126459" y="610201"/>
                    </a:lnTo>
                    <a:cubicBezTo>
                      <a:pt x="126459" y="631354"/>
                      <a:pt x="143551" y="648445"/>
                      <a:pt x="164703" y="648445"/>
                    </a:cubicBezTo>
                    <a:cubicBezTo>
                      <a:pt x="185855" y="648445"/>
                      <a:pt x="202947" y="631353"/>
                      <a:pt x="202947" y="610201"/>
                    </a:cubicBezTo>
                    <a:lnTo>
                      <a:pt x="202947" y="586356"/>
                    </a:lnTo>
                    <a:cubicBezTo>
                      <a:pt x="274937" y="570155"/>
                      <a:pt x="328949" y="510759"/>
                      <a:pt x="328949" y="439203"/>
                    </a:cubicBezTo>
                    <a:cubicBezTo>
                      <a:pt x="328949" y="355507"/>
                      <a:pt x="255155" y="287097"/>
                      <a:pt x="164703" y="287097"/>
                    </a:cubicBezTo>
                    <a:cubicBezTo>
                      <a:pt x="116556" y="287097"/>
                      <a:pt x="77400" y="253348"/>
                      <a:pt x="77400" y="211956"/>
                    </a:cubicBezTo>
                    <a:cubicBezTo>
                      <a:pt x="77400" y="170563"/>
                      <a:pt x="116556" y="136815"/>
                      <a:pt x="164703" y="13681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6" name="Google Shape;9524;p5">
                <a:extLst>
                  <a:ext uri="{FF2B5EF4-FFF2-40B4-BE49-F238E27FC236}">
                    <a16:creationId xmlns:a16="http://schemas.microsoft.com/office/drawing/2014/main" id="{09459DAD-6BCF-1FBE-575F-5D5AC67644E6}"/>
                  </a:ext>
                </a:extLst>
              </p:cNvPr>
              <p:cNvSpPr/>
              <p:nvPr/>
            </p:nvSpPr>
            <p:spPr>
              <a:xfrm>
                <a:off x="35418528" y="11353176"/>
                <a:ext cx="784419" cy="665560"/>
              </a:xfrm>
              <a:custGeom>
                <a:avLst/>
                <a:gdLst/>
                <a:ahLst/>
                <a:cxnLst/>
                <a:rect l="l" t="t" r="r" b="b"/>
                <a:pathLst>
                  <a:path w="784419" h="665560" extrusionOk="0">
                    <a:moveTo>
                      <a:pt x="771078" y="530546"/>
                    </a:moveTo>
                    <a:lnTo>
                      <a:pt x="467327" y="41848"/>
                    </a:lnTo>
                    <a:cubicBezTo>
                      <a:pt x="451126" y="15745"/>
                      <a:pt x="422785" y="0"/>
                      <a:pt x="392186" y="0"/>
                    </a:cubicBezTo>
                    <a:cubicBezTo>
                      <a:pt x="361587" y="0"/>
                      <a:pt x="333247" y="15745"/>
                      <a:pt x="317045" y="41848"/>
                    </a:cubicBezTo>
                    <a:lnTo>
                      <a:pt x="13293" y="530546"/>
                    </a:lnTo>
                    <a:cubicBezTo>
                      <a:pt x="-3799" y="557996"/>
                      <a:pt x="-4254" y="592200"/>
                      <a:pt x="11035" y="620107"/>
                    </a:cubicBezTo>
                    <a:cubicBezTo>
                      <a:pt x="26345" y="648013"/>
                      <a:pt x="56033" y="665561"/>
                      <a:pt x="88435" y="665561"/>
                    </a:cubicBezTo>
                    <a:lnTo>
                      <a:pt x="695960" y="665561"/>
                    </a:lnTo>
                    <a:cubicBezTo>
                      <a:pt x="727905" y="665561"/>
                      <a:pt x="757614" y="648013"/>
                      <a:pt x="773360" y="620107"/>
                    </a:cubicBezTo>
                    <a:cubicBezTo>
                      <a:pt x="789106" y="592202"/>
                      <a:pt x="787758" y="557562"/>
                      <a:pt x="771102" y="530546"/>
                    </a:cubicBezTo>
                    <a:close/>
                    <a:moveTo>
                      <a:pt x="706274" y="582753"/>
                    </a:moveTo>
                    <a:cubicBezTo>
                      <a:pt x="704927" y="585011"/>
                      <a:pt x="702234" y="588596"/>
                      <a:pt x="695915" y="588596"/>
                    </a:cubicBezTo>
                    <a:lnTo>
                      <a:pt x="88391" y="588596"/>
                    </a:lnTo>
                    <a:cubicBezTo>
                      <a:pt x="82549" y="588596"/>
                      <a:pt x="79400" y="584991"/>
                      <a:pt x="78033" y="582753"/>
                    </a:cubicBezTo>
                    <a:cubicBezTo>
                      <a:pt x="76686" y="580495"/>
                      <a:pt x="75340" y="576000"/>
                      <a:pt x="78489" y="570613"/>
                    </a:cubicBezTo>
                    <a:lnTo>
                      <a:pt x="382240" y="81915"/>
                    </a:lnTo>
                    <a:cubicBezTo>
                      <a:pt x="385389" y="76964"/>
                      <a:pt x="389885" y="76508"/>
                      <a:pt x="392143" y="76508"/>
                    </a:cubicBezTo>
                    <a:cubicBezTo>
                      <a:pt x="394401" y="76508"/>
                      <a:pt x="399353" y="77399"/>
                      <a:pt x="402046" y="81915"/>
                    </a:cubicBezTo>
                    <a:lnTo>
                      <a:pt x="705797" y="570613"/>
                    </a:lnTo>
                    <a:cubicBezTo>
                      <a:pt x="708946" y="575999"/>
                      <a:pt x="707600" y="580516"/>
                      <a:pt x="706253" y="58275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7" name="Google Shape;9525;p5">
                <a:extLst>
                  <a:ext uri="{FF2B5EF4-FFF2-40B4-BE49-F238E27FC236}">
                    <a16:creationId xmlns:a16="http://schemas.microsoft.com/office/drawing/2014/main" id="{DABBA84D-A681-1C78-0A84-66FB4B82EF81}"/>
                  </a:ext>
                </a:extLst>
              </p:cNvPr>
              <p:cNvSpPr/>
              <p:nvPr/>
            </p:nvSpPr>
            <p:spPr>
              <a:xfrm>
                <a:off x="33861373" y="9493843"/>
                <a:ext cx="2193292" cy="2846262"/>
              </a:xfrm>
              <a:custGeom>
                <a:avLst/>
                <a:gdLst/>
                <a:ahLst/>
                <a:cxnLst/>
                <a:rect l="l" t="t" r="r" b="b"/>
                <a:pathLst>
                  <a:path w="2193292" h="2846262" extrusionOk="0">
                    <a:moveTo>
                      <a:pt x="1492178" y="2769721"/>
                    </a:moveTo>
                    <a:lnTo>
                      <a:pt x="290654" y="2769721"/>
                    </a:lnTo>
                    <a:cubicBezTo>
                      <a:pt x="172755" y="2769721"/>
                      <a:pt x="76893" y="2673865"/>
                      <a:pt x="76893" y="2555961"/>
                    </a:cubicBezTo>
                    <a:lnTo>
                      <a:pt x="76914" y="290699"/>
                    </a:lnTo>
                    <a:cubicBezTo>
                      <a:pt x="76914" y="172801"/>
                      <a:pt x="172771" y="76939"/>
                      <a:pt x="290674" y="76939"/>
                    </a:cubicBezTo>
                    <a:lnTo>
                      <a:pt x="1902589" y="76939"/>
                    </a:lnTo>
                    <a:cubicBezTo>
                      <a:pt x="2020943" y="76939"/>
                      <a:pt x="2116784" y="172796"/>
                      <a:pt x="2116784" y="290699"/>
                    </a:cubicBezTo>
                    <a:lnTo>
                      <a:pt x="2116784" y="1544835"/>
                    </a:lnTo>
                    <a:cubicBezTo>
                      <a:pt x="2116784" y="1565987"/>
                      <a:pt x="2133876" y="1583078"/>
                      <a:pt x="2155028" y="1583078"/>
                    </a:cubicBezTo>
                    <a:cubicBezTo>
                      <a:pt x="2176180" y="1583078"/>
                      <a:pt x="2193271" y="1565987"/>
                      <a:pt x="2193271" y="1544835"/>
                    </a:cubicBezTo>
                    <a:lnTo>
                      <a:pt x="2193292" y="290699"/>
                    </a:lnTo>
                    <a:cubicBezTo>
                      <a:pt x="2193292" y="130494"/>
                      <a:pt x="2062798" y="0"/>
                      <a:pt x="1902137" y="0"/>
                    </a:cubicBezTo>
                    <a:lnTo>
                      <a:pt x="290699" y="0"/>
                    </a:lnTo>
                    <a:cubicBezTo>
                      <a:pt x="130516" y="0"/>
                      <a:pt x="0" y="130494"/>
                      <a:pt x="0" y="290699"/>
                    </a:cubicBezTo>
                    <a:lnTo>
                      <a:pt x="0" y="2556014"/>
                    </a:lnTo>
                    <a:cubicBezTo>
                      <a:pt x="0" y="2716219"/>
                      <a:pt x="130494" y="2846262"/>
                      <a:pt x="290249" y="2846262"/>
                    </a:cubicBezTo>
                    <a:lnTo>
                      <a:pt x="1491773" y="2846262"/>
                    </a:lnTo>
                    <a:cubicBezTo>
                      <a:pt x="1512925" y="2846262"/>
                      <a:pt x="1530016" y="2829171"/>
                      <a:pt x="1530016" y="2808019"/>
                    </a:cubicBezTo>
                    <a:cubicBezTo>
                      <a:pt x="1530472" y="2786867"/>
                      <a:pt x="1513381" y="2769755"/>
                      <a:pt x="1492228" y="27697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9" name="Google Shape;9526;p5">
                <a:extLst>
                  <a:ext uri="{FF2B5EF4-FFF2-40B4-BE49-F238E27FC236}">
                    <a16:creationId xmlns:a16="http://schemas.microsoft.com/office/drawing/2014/main" id="{BFF55220-9944-48AD-EC46-5C5C88DE0073}"/>
                  </a:ext>
                </a:extLst>
              </p:cNvPr>
              <p:cNvSpPr/>
              <p:nvPr/>
            </p:nvSpPr>
            <p:spPr>
              <a:xfrm>
                <a:off x="34242474" y="9745375"/>
                <a:ext cx="1431009" cy="1430977"/>
              </a:xfrm>
              <a:custGeom>
                <a:avLst/>
                <a:gdLst/>
                <a:ahLst/>
                <a:cxnLst/>
                <a:rect l="l" t="t" r="r" b="b"/>
                <a:pathLst>
                  <a:path w="1431009" h="1430977" extrusionOk="0">
                    <a:moveTo>
                      <a:pt x="1430988" y="715929"/>
                    </a:moveTo>
                    <a:cubicBezTo>
                      <a:pt x="1430988" y="320834"/>
                      <a:pt x="1110143" y="0"/>
                      <a:pt x="715961" y="0"/>
                    </a:cubicBezTo>
                    <a:lnTo>
                      <a:pt x="715505" y="0"/>
                    </a:lnTo>
                    <a:cubicBezTo>
                      <a:pt x="320845" y="456"/>
                      <a:pt x="0" y="321757"/>
                      <a:pt x="0" y="715929"/>
                    </a:cubicBezTo>
                    <a:cubicBezTo>
                      <a:pt x="0" y="906736"/>
                      <a:pt x="74250" y="1086288"/>
                      <a:pt x="209698" y="1221280"/>
                    </a:cubicBezTo>
                    <a:cubicBezTo>
                      <a:pt x="345146" y="1356272"/>
                      <a:pt x="524704" y="1430978"/>
                      <a:pt x="715940" y="1430978"/>
                    </a:cubicBezTo>
                    <a:cubicBezTo>
                      <a:pt x="906746" y="1430978"/>
                      <a:pt x="1086299" y="1356728"/>
                      <a:pt x="1221291" y="1221280"/>
                    </a:cubicBezTo>
                    <a:cubicBezTo>
                      <a:pt x="1356304" y="1085832"/>
                      <a:pt x="1431010" y="906730"/>
                      <a:pt x="1431010" y="715929"/>
                    </a:cubicBezTo>
                    <a:close/>
                    <a:moveTo>
                      <a:pt x="715961" y="1130828"/>
                    </a:moveTo>
                    <a:cubicBezTo>
                      <a:pt x="604814" y="1130828"/>
                      <a:pt x="500418" y="1087633"/>
                      <a:pt x="422111" y="1008888"/>
                    </a:cubicBezTo>
                    <a:cubicBezTo>
                      <a:pt x="343820" y="930597"/>
                      <a:pt x="300171" y="826641"/>
                      <a:pt x="300171" y="715929"/>
                    </a:cubicBezTo>
                    <a:cubicBezTo>
                      <a:pt x="300171" y="486878"/>
                      <a:pt x="486480" y="300575"/>
                      <a:pt x="715526" y="300140"/>
                    </a:cubicBezTo>
                    <a:lnTo>
                      <a:pt x="715982" y="300140"/>
                    </a:lnTo>
                    <a:cubicBezTo>
                      <a:pt x="944576" y="300140"/>
                      <a:pt x="1130880" y="486449"/>
                      <a:pt x="1130880" y="715929"/>
                    </a:cubicBezTo>
                    <a:cubicBezTo>
                      <a:pt x="1130880" y="826620"/>
                      <a:pt x="1087685" y="930581"/>
                      <a:pt x="1009375" y="1008888"/>
                    </a:cubicBezTo>
                    <a:cubicBezTo>
                      <a:pt x="930606" y="1087614"/>
                      <a:pt x="826651" y="1130828"/>
                      <a:pt x="715960" y="1130828"/>
                    </a:cubicBezTo>
                    <a:close/>
                    <a:moveTo>
                      <a:pt x="1354511" y="715929"/>
                    </a:moveTo>
                    <a:cubicBezTo>
                      <a:pt x="1354511" y="873419"/>
                      <a:pt x="1297810" y="1022375"/>
                      <a:pt x="1193871" y="1139388"/>
                    </a:cubicBezTo>
                    <a:lnTo>
                      <a:pt x="1089475" y="1034992"/>
                    </a:lnTo>
                    <a:cubicBezTo>
                      <a:pt x="1165985" y="945887"/>
                      <a:pt x="1207374" y="833849"/>
                      <a:pt x="1207374" y="715950"/>
                    </a:cubicBezTo>
                    <a:cubicBezTo>
                      <a:pt x="1207374" y="457194"/>
                      <a:pt x="1007577" y="244802"/>
                      <a:pt x="753775" y="224999"/>
                    </a:cubicBezTo>
                    <a:lnTo>
                      <a:pt x="753754" y="77825"/>
                    </a:lnTo>
                    <a:cubicBezTo>
                      <a:pt x="1088564" y="97174"/>
                      <a:pt x="1354490" y="376172"/>
                      <a:pt x="1354490" y="715950"/>
                    </a:cubicBezTo>
                    <a:close/>
                    <a:moveTo>
                      <a:pt x="677244" y="77803"/>
                    </a:moveTo>
                    <a:lnTo>
                      <a:pt x="677244" y="225412"/>
                    </a:lnTo>
                    <a:cubicBezTo>
                      <a:pt x="423893" y="245218"/>
                      <a:pt x="223646" y="458064"/>
                      <a:pt x="223646" y="716364"/>
                    </a:cubicBezTo>
                    <a:cubicBezTo>
                      <a:pt x="223646" y="834719"/>
                      <a:pt x="265494" y="946322"/>
                      <a:pt x="341544" y="1035406"/>
                    </a:cubicBezTo>
                    <a:lnTo>
                      <a:pt x="237149" y="1139801"/>
                    </a:lnTo>
                    <a:cubicBezTo>
                      <a:pt x="133188" y="1022794"/>
                      <a:pt x="76053" y="873854"/>
                      <a:pt x="76053" y="716343"/>
                    </a:cubicBezTo>
                    <a:cubicBezTo>
                      <a:pt x="76488" y="376601"/>
                      <a:pt x="342435" y="98052"/>
                      <a:pt x="677266" y="77793"/>
                    </a:cubicBezTo>
                    <a:close/>
                    <a:moveTo>
                      <a:pt x="715944" y="1354426"/>
                    </a:moveTo>
                    <a:cubicBezTo>
                      <a:pt x="557998" y="1354426"/>
                      <a:pt x="408586" y="1297726"/>
                      <a:pt x="291595" y="1193330"/>
                    </a:cubicBezTo>
                    <a:lnTo>
                      <a:pt x="395990" y="1088935"/>
                    </a:lnTo>
                    <a:cubicBezTo>
                      <a:pt x="485096" y="1165444"/>
                      <a:pt x="597590" y="1207289"/>
                      <a:pt x="715944" y="1207289"/>
                    </a:cubicBezTo>
                    <a:cubicBezTo>
                      <a:pt x="834299" y="1207289"/>
                      <a:pt x="946337" y="1165441"/>
                      <a:pt x="1034986" y="1089391"/>
                    </a:cubicBezTo>
                    <a:lnTo>
                      <a:pt x="1139402" y="1193808"/>
                    </a:lnTo>
                    <a:cubicBezTo>
                      <a:pt x="1022395" y="1297726"/>
                      <a:pt x="873439" y="1354426"/>
                      <a:pt x="715944" y="135442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0" name="Google Shape;9527;p5">
                <a:extLst>
                  <a:ext uri="{FF2B5EF4-FFF2-40B4-BE49-F238E27FC236}">
                    <a16:creationId xmlns:a16="http://schemas.microsoft.com/office/drawing/2014/main" id="{08748F4E-4948-5A79-7D20-4BA3FAF7465F}"/>
                  </a:ext>
                </a:extLst>
              </p:cNvPr>
              <p:cNvSpPr/>
              <p:nvPr/>
            </p:nvSpPr>
            <p:spPr>
              <a:xfrm>
                <a:off x="35192428" y="11137191"/>
                <a:ext cx="1236580" cy="1236580"/>
              </a:xfrm>
              <a:custGeom>
                <a:avLst/>
                <a:gdLst/>
                <a:ahLst/>
                <a:cxnLst/>
                <a:rect l="l" t="t" r="r" b="b"/>
                <a:pathLst>
                  <a:path w="1236580" h="1236580" extrusionOk="0">
                    <a:moveTo>
                      <a:pt x="618290" y="0"/>
                    </a:moveTo>
                    <a:cubicBezTo>
                      <a:pt x="277186" y="0"/>
                      <a:pt x="0" y="277196"/>
                      <a:pt x="0" y="618290"/>
                    </a:cubicBezTo>
                    <a:cubicBezTo>
                      <a:pt x="0" y="959384"/>
                      <a:pt x="277196" y="1236581"/>
                      <a:pt x="618290" y="1236581"/>
                    </a:cubicBezTo>
                    <a:cubicBezTo>
                      <a:pt x="959395" y="1236581"/>
                      <a:pt x="1236581" y="959384"/>
                      <a:pt x="1236581" y="618290"/>
                    </a:cubicBezTo>
                    <a:cubicBezTo>
                      <a:pt x="1236581" y="277196"/>
                      <a:pt x="958928" y="0"/>
                      <a:pt x="618290" y="0"/>
                    </a:cubicBezTo>
                    <a:close/>
                    <a:moveTo>
                      <a:pt x="618290" y="1160103"/>
                    </a:moveTo>
                    <a:cubicBezTo>
                      <a:pt x="319487" y="1160103"/>
                      <a:pt x="76477" y="917115"/>
                      <a:pt x="76477" y="618290"/>
                    </a:cubicBezTo>
                    <a:cubicBezTo>
                      <a:pt x="76477" y="319466"/>
                      <a:pt x="319466" y="76477"/>
                      <a:pt x="618290" y="76477"/>
                    </a:cubicBezTo>
                    <a:cubicBezTo>
                      <a:pt x="917094" y="76477"/>
                      <a:pt x="1160103" y="319466"/>
                      <a:pt x="1160103" y="618290"/>
                    </a:cubicBezTo>
                    <a:cubicBezTo>
                      <a:pt x="1159648" y="917094"/>
                      <a:pt x="917115" y="1160103"/>
                      <a:pt x="618290" y="116010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1" name="Google Shape;9528;p5">
                <a:extLst>
                  <a:ext uri="{FF2B5EF4-FFF2-40B4-BE49-F238E27FC236}">
                    <a16:creationId xmlns:a16="http://schemas.microsoft.com/office/drawing/2014/main" id="{C98A3B54-ECB5-E9C9-DE54-BA40FAB89053}"/>
                  </a:ext>
                </a:extLst>
              </p:cNvPr>
              <p:cNvSpPr/>
              <p:nvPr/>
            </p:nvSpPr>
            <p:spPr>
              <a:xfrm>
                <a:off x="35772475" y="11553921"/>
                <a:ext cx="76486" cy="215085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215085" extrusionOk="0">
                    <a:moveTo>
                      <a:pt x="38243" y="215085"/>
                    </a:moveTo>
                    <a:cubicBezTo>
                      <a:pt x="59396" y="215085"/>
                      <a:pt x="76487" y="197993"/>
                      <a:pt x="76487" y="176842"/>
                    </a:cubicBezTo>
                    <a:lnTo>
                      <a:pt x="76487" y="38244"/>
                    </a:lnTo>
                    <a:cubicBezTo>
                      <a:pt x="76487" y="17091"/>
                      <a:pt x="59395" y="0"/>
                      <a:pt x="38243" y="0"/>
                    </a:cubicBezTo>
                    <a:cubicBezTo>
                      <a:pt x="17091" y="0"/>
                      <a:pt x="0" y="17092"/>
                      <a:pt x="0" y="38244"/>
                    </a:cubicBezTo>
                    <a:lnTo>
                      <a:pt x="0" y="176842"/>
                    </a:lnTo>
                    <a:cubicBezTo>
                      <a:pt x="-21" y="197973"/>
                      <a:pt x="17092" y="215085"/>
                      <a:pt x="38243" y="21508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2" name="Google Shape;9529;p5">
                <a:extLst>
                  <a:ext uri="{FF2B5EF4-FFF2-40B4-BE49-F238E27FC236}">
                    <a16:creationId xmlns:a16="http://schemas.microsoft.com/office/drawing/2014/main" id="{37EC2827-75B7-BC41-52BF-AB4695092326}"/>
                  </a:ext>
                </a:extLst>
              </p:cNvPr>
              <p:cNvSpPr/>
              <p:nvPr/>
            </p:nvSpPr>
            <p:spPr>
              <a:xfrm>
                <a:off x="35772502" y="11803134"/>
                <a:ext cx="76486" cy="76579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76579" extrusionOk="0">
                    <a:moveTo>
                      <a:pt x="52642" y="2785"/>
                    </a:moveTo>
                    <a:cubicBezTo>
                      <a:pt x="38699" y="-3057"/>
                      <a:pt x="21587" y="527"/>
                      <a:pt x="11249" y="11341"/>
                    </a:cubicBezTo>
                    <a:cubicBezTo>
                      <a:pt x="4040" y="18986"/>
                      <a:pt x="0" y="28433"/>
                      <a:pt x="0" y="38335"/>
                    </a:cubicBezTo>
                    <a:cubicBezTo>
                      <a:pt x="0" y="43742"/>
                      <a:pt x="1347" y="48238"/>
                      <a:pt x="3149" y="53190"/>
                    </a:cubicBezTo>
                    <a:cubicBezTo>
                      <a:pt x="5407" y="57685"/>
                      <a:pt x="8100" y="61746"/>
                      <a:pt x="11249" y="65330"/>
                    </a:cubicBezTo>
                    <a:cubicBezTo>
                      <a:pt x="18459" y="72540"/>
                      <a:pt x="28341" y="76579"/>
                      <a:pt x="38243" y="76579"/>
                    </a:cubicBezTo>
                    <a:cubicBezTo>
                      <a:pt x="43195" y="76579"/>
                      <a:pt x="48146" y="75233"/>
                      <a:pt x="52641" y="73430"/>
                    </a:cubicBezTo>
                    <a:cubicBezTo>
                      <a:pt x="57593" y="71172"/>
                      <a:pt x="61632" y="68479"/>
                      <a:pt x="65237" y="65330"/>
                    </a:cubicBezTo>
                    <a:cubicBezTo>
                      <a:pt x="72447" y="58121"/>
                      <a:pt x="76487" y="48238"/>
                      <a:pt x="76487" y="38336"/>
                    </a:cubicBezTo>
                    <a:cubicBezTo>
                      <a:pt x="76487" y="28434"/>
                      <a:pt x="71991" y="18530"/>
                      <a:pt x="65237" y="11342"/>
                    </a:cubicBezTo>
                    <a:cubicBezTo>
                      <a:pt x="61632" y="7737"/>
                      <a:pt x="57593" y="5023"/>
                      <a:pt x="52641" y="27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3" name="Google Shape;9530;p5">
                <a:extLst>
                  <a:ext uri="{FF2B5EF4-FFF2-40B4-BE49-F238E27FC236}">
                    <a16:creationId xmlns:a16="http://schemas.microsoft.com/office/drawing/2014/main" id="{2A775AB8-39B9-20EF-4105-BB40F31C4BAA}"/>
                  </a:ext>
                </a:extLst>
              </p:cNvPr>
              <p:cNvSpPr/>
              <p:nvPr/>
            </p:nvSpPr>
            <p:spPr>
              <a:xfrm>
                <a:off x="34075067" y="11500327"/>
                <a:ext cx="981435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35" h="76486" extrusionOk="0">
                    <a:moveTo>
                      <a:pt x="943192" y="0"/>
                    </a:moveTo>
                    <a:lnTo>
                      <a:pt x="38244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6"/>
                      <a:pt x="17092" y="76487"/>
                      <a:pt x="38244" y="76487"/>
                    </a:cubicBezTo>
                    <a:lnTo>
                      <a:pt x="943192" y="76487"/>
                    </a:lnTo>
                    <a:cubicBezTo>
                      <a:pt x="964344" y="76487"/>
                      <a:pt x="981436" y="59395"/>
                      <a:pt x="981436" y="38244"/>
                    </a:cubicBezTo>
                    <a:cubicBezTo>
                      <a:pt x="981456" y="17091"/>
                      <a:pt x="964364" y="0"/>
                      <a:pt x="94321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4" name="Google Shape;9531;p5">
                <a:extLst>
                  <a:ext uri="{FF2B5EF4-FFF2-40B4-BE49-F238E27FC236}">
                    <a16:creationId xmlns:a16="http://schemas.microsoft.com/office/drawing/2014/main" id="{CC3DC796-A6CB-9B5A-F7B7-068A54534224}"/>
                  </a:ext>
                </a:extLst>
              </p:cNvPr>
              <p:cNvSpPr/>
              <p:nvPr/>
            </p:nvSpPr>
            <p:spPr>
              <a:xfrm>
                <a:off x="34075115" y="11674969"/>
                <a:ext cx="981456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56" h="76486" extrusionOk="0">
                    <a:moveTo>
                      <a:pt x="981435" y="38243"/>
                    </a:moveTo>
                    <a:cubicBezTo>
                      <a:pt x="981435" y="17091"/>
                      <a:pt x="964344" y="0"/>
                      <a:pt x="943192" y="0"/>
                    </a:cubicBez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943192" y="76487"/>
                    </a:lnTo>
                    <a:cubicBezTo>
                      <a:pt x="964365" y="76487"/>
                      <a:pt x="981456" y="59395"/>
                      <a:pt x="981456" y="3824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2" name="Google Shape;9532;p5">
                <a:extLst>
                  <a:ext uri="{FF2B5EF4-FFF2-40B4-BE49-F238E27FC236}">
                    <a16:creationId xmlns:a16="http://schemas.microsoft.com/office/drawing/2014/main" id="{F8516BFB-2ACB-439E-DFD1-2501E03C642D}"/>
                  </a:ext>
                </a:extLst>
              </p:cNvPr>
              <p:cNvSpPr/>
              <p:nvPr/>
            </p:nvSpPr>
            <p:spPr>
              <a:xfrm>
                <a:off x="34075072" y="11849567"/>
                <a:ext cx="529194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6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6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3"/>
                    </a:cubicBezTo>
                    <a:cubicBezTo>
                      <a:pt x="529195" y="17091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3" name="Google Shape;9533;p5">
                <a:extLst>
                  <a:ext uri="{FF2B5EF4-FFF2-40B4-BE49-F238E27FC236}">
                    <a16:creationId xmlns:a16="http://schemas.microsoft.com/office/drawing/2014/main" id="{D799D206-6E61-E253-5A83-774A37049B02}"/>
                  </a:ext>
                </a:extLst>
              </p:cNvPr>
              <p:cNvSpPr/>
              <p:nvPr/>
            </p:nvSpPr>
            <p:spPr>
              <a:xfrm>
                <a:off x="34075072" y="12024161"/>
                <a:ext cx="529194" cy="76487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7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4"/>
                    </a:cubicBezTo>
                    <a:cubicBezTo>
                      <a:pt x="529195" y="17568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4" name="Group 9533">
            <a:extLst>
              <a:ext uri="{FF2B5EF4-FFF2-40B4-BE49-F238E27FC236}">
                <a16:creationId xmlns:a16="http://schemas.microsoft.com/office/drawing/2014/main" id="{486BA24B-4DFE-D6F8-9FCF-F0E9DF3661BA}"/>
              </a:ext>
            </a:extLst>
          </p:cNvPr>
          <p:cNvGrpSpPr/>
          <p:nvPr/>
        </p:nvGrpSpPr>
        <p:grpSpPr>
          <a:xfrm>
            <a:off x="476251" y="2633762"/>
            <a:ext cx="863600" cy="863600"/>
            <a:chOff x="476251" y="2524425"/>
            <a:chExt cx="863600" cy="863600"/>
          </a:xfrm>
        </p:grpSpPr>
        <p:sp>
          <p:nvSpPr>
            <p:cNvPr id="9519" name="Oval 9518">
              <a:extLst>
                <a:ext uri="{FF2B5EF4-FFF2-40B4-BE49-F238E27FC236}">
                  <a16:creationId xmlns:a16="http://schemas.microsoft.com/office/drawing/2014/main" id="{1925265A-636F-2187-ACC6-C69EC986EFF4}"/>
                </a:ext>
              </a:extLst>
            </p:cNvPr>
            <p:cNvSpPr/>
            <p:nvPr/>
          </p:nvSpPr>
          <p:spPr>
            <a:xfrm>
              <a:off x="476251" y="25244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oogle Shape;9506;p5">
              <a:extLst>
                <a:ext uri="{FF2B5EF4-FFF2-40B4-BE49-F238E27FC236}">
                  <a16:creationId xmlns:a16="http://schemas.microsoft.com/office/drawing/2014/main" id="{86A2F749-9E95-5857-97BC-C18C0366A7FB}"/>
                </a:ext>
              </a:extLst>
            </p:cNvPr>
            <p:cNvGrpSpPr/>
            <p:nvPr/>
          </p:nvGrpSpPr>
          <p:grpSpPr>
            <a:xfrm>
              <a:off x="688205" y="2736381"/>
              <a:ext cx="439693" cy="439689"/>
              <a:chOff x="-15387813" y="9448801"/>
              <a:chExt cx="2970002" cy="2970001"/>
            </a:xfrm>
          </p:grpSpPr>
          <p:sp>
            <p:nvSpPr>
              <p:cNvPr id="26" name="Google Shape;9507;p5">
                <a:extLst>
                  <a:ext uri="{FF2B5EF4-FFF2-40B4-BE49-F238E27FC236}">
                    <a16:creationId xmlns:a16="http://schemas.microsoft.com/office/drawing/2014/main" id="{590861A2-344F-72FB-2B15-A272136B20D3}"/>
                  </a:ext>
                </a:extLst>
              </p:cNvPr>
              <p:cNvSpPr/>
              <p:nvPr/>
            </p:nvSpPr>
            <p:spPr>
              <a:xfrm>
                <a:off x="-13345926" y="10648520"/>
                <a:ext cx="928115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15" h="1770250" extrusionOk="0">
                    <a:moveTo>
                      <a:pt x="758520" y="0"/>
                    </a:moveTo>
                    <a:cubicBezTo>
                      <a:pt x="738424" y="26207"/>
                      <a:pt x="714931" y="49659"/>
                      <a:pt x="688662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6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lnTo>
                      <a:pt x="92813" y="1607831"/>
                    </a:lnTo>
                    <a:cubicBezTo>
                      <a:pt x="92813" y="1665857"/>
                      <a:pt x="123764" y="1719476"/>
                      <a:pt x="174021" y="1748497"/>
                    </a:cubicBezTo>
                    <a:cubicBezTo>
                      <a:pt x="224281" y="1777502"/>
                      <a:pt x="286181" y="1777502"/>
                      <a:pt x="336443" y="1748497"/>
                    </a:cubicBezTo>
                    <a:cubicBezTo>
                      <a:pt x="386703" y="1719472"/>
                      <a:pt x="417651" y="1665857"/>
                      <a:pt x="417651" y="1607831"/>
                    </a:cubicBezTo>
                    <a:lnTo>
                      <a:pt x="417651" y="1120565"/>
                    </a:lnTo>
                    <a:lnTo>
                      <a:pt x="510464" y="1120565"/>
                    </a:lnTo>
                    <a:lnTo>
                      <a:pt x="510464" y="1607831"/>
                    </a:lnTo>
                    <a:cubicBezTo>
                      <a:pt x="510464" y="1665857"/>
                      <a:pt x="541415" y="1719476"/>
                      <a:pt x="591672" y="1748497"/>
                    </a:cubicBezTo>
                    <a:cubicBezTo>
                      <a:pt x="641932" y="1777502"/>
                      <a:pt x="703832" y="1777502"/>
                      <a:pt x="754094" y="1748497"/>
                    </a:cubicBezTo>
                    <a:cubicBezTo>
                      <a:pt x="804354" y="1719472"/>
                      <a:pt x="835302" y="1665857"/>
                      <a:pt x="835302" y="1607831"/>
                    </a:cubicBezTo>
                    <a:lnTo>
                      <a:pt x="835302" y="1112445"/>
                    </a:lnTo>
                    <a:cubicBezTo>
                      <a:pt x="862421" y="1102853"/>
                      <a:pt x="885894" y="1085099"/>
                      <a:pt x="902509" y="1061626"/>
                    </a:cubicBezTo>
                    <a:cubicBezTo>
                      <a:pt x="919125" y="1038154"/>
                      <a:pt x="928074" y="1010103"/>
                      <a:pt x="928116" y="981346"/>
                    </a:cubicBezTo>
                    <a:lnTo>
                      <a:pt x="928116" y="285253"/>
                    </a:lnTo>
                    <a:cubicBezTo>
                      <a:pt x="928074" y="226850"/>
                      <a:pt x="912308" y="169550"/>
                      <a:pt x="882455" y="119352"/>
                    </a:cubicBezTo>
                    <a:cubicBezTo>
                      <a:pt x="852602" y="69153"/>
                      <a:pt x="809801" y="27929"/>
                      <a:pt x="758505" y="0"/>
                    </a:cubicBezTo>
                    <a:close/>
                    <a:moveTo>
                      <a:pt x="324847" y="1607831"/>
                    </a:moveTo>
                    <a:cubicBezTo>
                      <a:pt x="324847" y="1646282"/>
                      <a:pt x="293689" y="1677440"/>
                      <a:pt x="255238" y="1677440"/>
                    </a:cubicBezTo>
                    <a:cubicBezTo>
                      <a:pt x="216787" y="1677440"/>
                      <a:pt x="185628" y="1646282"/>
                      <a:pt x="185628" y="1607831"/>
                    </a:cubicBezTo>
                    <a:lnTo>
                      <a:pt x="185628" y="1120565"/>
                    </a:lnTo>
                    <a:lnTo>
                      <a:pt x="324847" y="1120565"/>
                    </a:lnTo>
                    <a:close/>
                    <a:moveTo>
                      <a:pt x="742503" y="1607831"/>
                    </a:moveTo>
                    <a:cubicBezTo>
                      <a:pt x="742503" y="1646282"/>
                      <a:pt x="711345" y="1677440"/>
                      <a:pt x="672894" y="1677440"/>
                    </a:cubicBezTo>
                    <a:cubicBezTo>
                      <a:pt x="634443" y="1677440"/>
                      <a:pt x="603285" y="1646282"/>
                      <a:pt x="603285" y="1607831"/>
                    </a:cubicBezTo>
                    <a:lnTo>
                      <a:pt x="603285" y="1120565"/>
                    </a:lnTo>
                    <a:lnTo>
                      <a:pt x="742503" y="1120565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" name="Google Shape;9508;p5">
                <a:extLst>
                  <a:ext uri="{FF2B5EF4-FFF2-40B4-BE49-F238E27FC236}">
                    <a16:creationId xmlns:a16="http://schemas.microsoft.com/office/drawing/2014/main" id="{1CF69C4A-AB23-969C-7483-22B6C0314671}"/>
                  </a:ext>
                </a:extLst>
              </p:cNvPr>
              <p:cNvSpPr/>
              <p:nvPr/>
            </p:nvSpPr>
            <p:spPr>
              <a:xfrm>
                <a:off x="-13160298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3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" name="Google Shape;9509;p5">
                <a:extLst>
                  <a:ext uri="{FF2B5EF4-FFF2-40B4-BE49-F238E27FC236}">
                    <a16:creationId xmlns:a16="http://schemas.microsoft.com/office/drawing/2014/main" id="{403B4F97-A31E-96B5-BB9B-66CE02387B82}"/>
                  </a:ext>
                </a:extLst>
              </p:cNvPr>
              <p:cNvSpPr/>
              <p:nvPr/>
            </p:nvSpPr>
            <p:spPr>
              <a:xfrm>
                <a:off x="-14181236" y="10144892"/>
                <a:ext cx="556570" cy="556884"/>
              </a:xfrm>
              <a:custGeom>
                <a:avLst/>
                <a:gdLst/>
                <a:ahLst/>
                <a:cxnLst/>
                <a:rect l="l" t="t" r="r" b="b"/>
                <a:pathLst>
                  <a:path w="556570" h="556884" extrusionOk="0">
                    <a:moveTo>
                      <a:pt x="1" y="278439"/>
                    </a:moveTo>
                    <a:cubicBezTo>
                      <a:pt x="22" y="349894"/>
                      <a:pt x="27617" y="418591"/>
                      <a:pt x="77046" y="470173"/>
                    </a:cubicBezTo>
                    <a:lnTo>
                      <a:pt x="77046" y="470194"/>
                    </a:lnTo>
                    <a:cubicBezTo>
                      <a:pt x="95961" y="490062"/>
                      <a:pt x="117673" y="507050"/>
                      <a:pt x="141516" y="520599"/>
                    </a:cubicBezTo>
                    <a:lnTo>
                      <a:pt x="142345" y="521096"/>
                    </a:lnTo>
                    <a:cubicBezTo>
                      <a:pt x="149741" y="525260"/>
                      <a:pt x="157344" y="529051"/>
                      <a:pt x="165134" y="532532"/>
                    </a:cubicBezTo>
                    <a:cubicBezTo>
                      <a:pt x="165921" y="532884"/>
                      <a:pt x="166646" y="533298"/>
                      <a:pt x="167434" y="533650"/>
                    </a:cubicBezTo>
                    <a:cubicBezTo>
                      <a:pt x="174685" y="536820"/>
                      <a:pt x="182122" y="539575"/>
                      <a:pt x="189663" y="542124"/>
                    </a:cubicBezTo>
                    <a:cubicBezTo>
                      <a:pt x="191051" y="542600"/>
                      <a:pt x="192398" y="543201"/>
                      <a:pt x="193806" y="543636"/>
                    </a:cubicBezTo>
                    <a:cubicBezTo>
                      <a:pt x="200850" y="545894"/>
                      <a:pt x="208060" y="547697"/>
                      <a:pt x="215311" y="549395"/>
                    </a:cubicBezTo>
                    <a:cubicBezTo>
                      <a:pt x="217300" y="549851"/>
                      <a:pt x="219206" y="550493"/>
                      <a:pt x="221215" y="550908"/>
                    </a:cubicBezTo>
                    <a:cubicBezTo>
                      <a:pt x="228259" y="552379"/>
                      <a:pt x="235489" y="553394"/>
                      <a:pt x="242720" y="554326"/>
                    </a:cubicBezTo>
                    <a:cubicBezTo>
                      <a:pt x="244999" y="554616"/>
                      <a:pt x="247194" y="555113"/>
                      <a:pt x="249494" y="555362"/>
                    </a:cubicBezTo>
                    <a:cubicBezTo>
                      <a:pt x="268740" y="557392"/>
                      <a:pt x="288131" y="557392"/>
                      <a:pt x="307377" y="555362"/>
                    </a:cubicBezTo>
                    <a:cubicBezTo>
                      <a:pt x="309677" y="555113"/>
                      <a:pt x="311873" y="554616"/>
                      <a:pt x="314151" y="554326"/>
                    </a:cubicBezTo>
                    <a:cubicBezTo>
                      <a:pt x="321382" y="553394"/>
                      <a:pt x="328591" y="552399"/>
                      <a:pt x="335656" y="550908"/>
                    </a:cubicBezTo>
                    <a:cubicBezTo>
                      <a:pt x="337665" y="550493"/>
                      <a:pt x="339571" y="549851"/>
                      <a:pt x="341560" y="549395"/>
                    </a:cubicBezTo>
                    <a:cubicBezTo>
                      <a:pt x="348832" y="547697"/>
                      <a:pt x="356042" y="545894"/>
                      <a:pt x="363065" y="543636"/>
                    </a:cubicBezTo>
                    <a:cubicBezTo>
                      <a:pt x="364473" y="543180"/>
                      <a:pt x="365799" y="542600"/>
                      <a:pt x="367208" y="542124"/>
                    </a:cubicBezTo>
                    <a:cubicBezTo>
                      <a:pt x="374749" y="539576"/>
                      <a:pt x="382207" y="536820"/>
                      <a:pt x="389437" y="533650"/>
                    </a:cubicBezTo>
                    <a:cubicBezTo>
                      <a:pt x="390225" y="533298"/>
                      <a:pt x="390950" y="532884"/>
                      <a:pt x="391737" y="532532"/>
                    </a:cubicBezTo>
                    <a:cubicBezTo>
                      <a:pt x="399527" y="529051"/>
                      <a:pt x="407129" y="525260"/>
                      <a:pt x="414526" y="521096"/>
                    </a:cubicBezTo>
                    <a:lnTo>
                      <a:pt x="415354" y="520599"/>
                    </a:lnTo>
                    <a:cubicBezTo>
                      <a:pt x="439200" y="507050"/>
                      <a:pt x="460911" y="490062"/>
                      <a:pt x="479825" y="470194"/>
                    </a:cubicBezTo>
                    <a:lnTo>
                      <a:pt x="479825" y="470173"/>
                    </a:lnTo>
                    <a:cubicBezTo>
                      <a:pt x="543510" y="403301"/>
                      <a:pt x="569864" y="309183"/>
                      <a:pt x="550161" y="218959"/>
                    </a:cubicBezTo>
                    <a:cubicBezTo>
                      <a:pt x="530480" y="128714"/>
                      <a:pt x="467314" y="54135"/>
                      <a:pt x="381544" y="19868"/>
                    </a:cubicBezTo>
                    <a:cubicBezTo>
                      <a:pt x="295796" y="-14398"/>
                      <a:pt x="198614" y="-3894"/>
                      <a:pt x="122168" y="47919"/>
                    </a:cubicBezTo>
                    <a:cubicBezTo>
                      <a:pt x="45722" y="99733"/>
                      <a:pt x="-42" y="186083"/>
                      <a:pt x="0" y="278439"/>
                    </a:cubicBezTo>
                    <a:close/>
                    <a:moveTo>
                      <a:pt x="278439" y="92814"/>
                    </a:moveTo>
                    <a:cubicBezTo>
                      <a:pt x="327662" y="92814"/>
                      <a:pt x="374879" y="112371"/>
                      <a:pt x="409702" y="147175"/>
                    </a:cubicBezTo>
                    <a:cubicBezTo>
                      <a:pt x="444507" y="182001"/>
                      <a:pt x="464064" y="229216"/>
                      <a:pt x="464064" y="278439"/>
                    </a:cubicBezTo>
                    <a:cubicBezTo>
                      <a:pt x="464064" y="327661"/>
                      <a:pt x="444507" y="374879"/>
                      <a:pt x="409702" y="409702"/>
                    </a:cubicBezTo>
                    <a:cubicBezTo>
                      <a:pt x="374877" y="444507"/>
                      <a:pt x="327661" y="464064"/>
                      <a:pt x="278439" y="464064"/>
                    </a:cubicBezTo>
                    <a:cubicBezTo>
                      <a:pt x="229216" y="464064"/>
                      <a:pt x="181999" y="444507"/>
                      <a:pt x="147175" y="409702"/>
                    </a:cubicBezTo>
                    <a:cubicBezTo>
                      <a:pt x="112371" y="374877"/>
                      <a:pt x="92814" y="327661"/>
                      <a:pt x="92814" y="278439"/>
                    </a:cubicBezTo>
                    <a:cubicBezTo>
                      <a:pt x="92876" y="229215"/>
                      <a:pt x="112453" y="182041"/>
                      <a:pt x="147239" y="147239"/>
                    </a:cubicBezTo>
                    <a:cubicBezTo>
                      <a:pt x="182044" y="112455"/>
                      <a:pt x="229216" y="92877"/>
                      <a:pt x="278439" y="9281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" name="Google Shape;9510;p5">
                <a:extLst>
                  <a:ext uri="{FF2B5EF4-FFF2-40B4-BE49-F238E27FC236}">
                    <a16:creationId xmlns:a16="http://schemas.microsoft.com/office/drawing/2014/main" id="{1027A2B6-626E-470F-7A97-9D6CE970089F}"/>
                  </a:ext>
                </a:extLst>
              </p:cNvPr>
              <p:cNvSpPr/>
              <p:nvPr/>
            </p:nvSpPr>
            <p:spPr>
              <a:xfrm>
                <a:off x="-14366875" y="10648547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15" y="285253"/>
                    </a:moveTo>
                    <a:lnTo>
                      <a:pt x="15" y="981346"/>
                    </a:lnTo>
                    <a:cubicBezTo>
                      <a:pt x="56" y="1010102"/>
                      <a:pt x="9006" y="1038153"/>
                      <a:pt x="25621" y="1061627"/>
                    </a:cubicBezTo>
                    <a:cubicBezTo>
                      <a:pt x="42236" y="1085100"/>
                      <a:pt x="65709" y="1102853"/>
                      <a:pt x="92828" y="1112445"/>
                    </a:cubicBez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3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3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5" y="1006973"/>
                      <a:pt x="814536" y="1027732"/>
                      <a:pt x="788909" y="1027753"/>
                    </a:cubicBezTo>
                    <a:lnTo>
                      <a:pt x="696097" y="1027753"/>
                    </a:lnTo>
                    <a:lnTo>
                      <a:pt x="696097" y="656503"/>
                    </a:lnTo>
                    <a:cubicBezTo>
                      <a:pt x="696097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7" y="1027753"/>
                    </a:lnTo>
                    <a:lnTo>
                      <a:pt x="324847" y="656503"/>
                    </a:lnTo>
                    <a:cubicBezTo>
                      <a:pt x="324847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7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close/>
                    <a:moveTo>
                      <a:pt x="603296" y="1120565"/>
                    </a:moveTo>
                    <a:lnTo>
                      <a:pt x="742515" y="1120565"/>
                    </a:lnTo>
                    <a:lnTo>
                      <a:pt x="742515" y="1607831"/>
                    </a:lnTo>
                    <a:cubicBezTo>
                      <a:pt x="742515" y="1646282"/>
                      <a:pt x="711356" y="1677440"/>
                      <a:pt x="672906" y="1677440"/>
                    </a:cubicBezTo>
                    <a:cubicBezTo>
                      <a:pt x="634455" y="1677440"/>
                      <a:pt x="603296" y="1646282"/>
                      <a:pt x="603296" y="1607831"/>
                    </a:cubicBezTo>
                    <a:close/>
                    <a:moveTo>
                      <a:pt x="185640" y="1120565"/>
                    </a:moveTo>
                    <a:lnTo>
                      <a:pt x="324859" y="1120565"/>
                    </a:lnTo>
                    <a:lnTo>
                      <a:pt x="324859" y="1607831"/>
                    </a:lnTo>
                    <a:cubicBezTo>
                      <a:pt x="324859" y="1646282"/>
                      <a:pt x="293700" y="1677440"/>
                      <a:pt x="255249" y="1677440"/>
                    </a:cubicBezTo>
                    <a:cubicBezTo>
                      <a:pt x="216798" y="1677440"/>
                      <a:pt x="185640" y="1646282"/>
                      <a:pt x="185640" y="16078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" name="Google Shape;9511;p5">
                <a:extLst>
                  <a:ext uri="{FF2B5EF4-FFF2-40B4-BE49-F238E27FC236}">
                    <a16:creationId xmlns:a16="http://schemas.microsoft.com/office/drawing/2014/main" id="{EB0B203B-7715-F239-7923-CFAAB51AFC1E}"/>
                  </a:ext>
                </a:extLst>
              </p:cNvPr>
              <p:cNvSpPr/>
              <p:nvPr/>
            </p:nvSpPr>
            <p:spPr>
              <a:xfrm>
                <a:off x="-13995603" y="9448801"/>
                <a:ext cx="324838" cy="417654"/>
              </a:xfrm>
              <a:custGeom>
                <a:avLst/>
                <a:gdLst/>
                <a:ahLst/>
                <a:cxnLst/>
                <a:rect l="l" t="t" r="r" b="b"/>
                <a:pathLst>
                  <a:path w="324838" h="417654" extrusionOk="0">
                    <a:moveTo>
                      <a:pt x="139212" y="324842"/>
                    </a:moveTo>
                    <a:lnTo>
                      <a:pt x="139212" y="323910"/>
                    </a:lnTo>
                    <a:cubicBezTo>
                      <a:pt x="144412" y="323785"/>
                      <a:pt x="149612" y="323972"/>
                      <a:pt x="154771" y="324427"/>
                    </a:cubicBezTo>
                    <a:lnTo>
                      <a:pt x="159577" y="324759"/>
                    </a:lnTo>
                    <a:cubicBezTo>
                      <a:pt x="201467" y="327266"/>
                      <a:pt x="242509" y="312163"/>
                      <a:pt x="272776" y="283076"/>
                    </a:cubicBezTo>
                    <a:cubicBezTo>
                      <a:pt x="305965" y="251731"/>
                      <a:pt x="324797" y="208078"/>
                      <a:pt x="324838" y="162420"/>
                    </a:cubicBezTo>
                    <a:cubicBezTo>
                      <a:pt x="324838" y="104393"/>
                      <a:pt x="293887" y="50774"/>
                      <a:pt x="243630" y="21753"/>
                    </a:cubicBezTo>
                    <a:cubicBezTo>
                      <a:pt x="193370" y="-7251"/>
                      <a:pt x="131470" y="-7251"/>
                      <a:pt x="81208" y="21753"/>
                    </a:cubicBezTo>
                    <a:cubicBezTo>
                      <a:pt x="30948" y="50778"/>
                      <a:pt x="0" y="104393"/>
                      <a:pt x="0" y="162420"/>
                    </a:cubicBezTo>
                    <a:cubicBezTo>
                      <a:pt x="0" y="188047"/>
                      <a:pt x="20779" y="208826"/>
                      <a:pt x="46406" y="208826"/>
                    </a:cubicBezTo>
                    <a:cubicBezTo>
                      <a:pt x="72033" y="208826"/>
                      <a:pt x="92813" y="188047"/>
                      <a:pt x="92813" y="162420"/>
                    </a:cubicBezTo>
                    <a:cubicBezTo>
                      <a:pt x="92813" y="123969"/>
                      <a:pt x="123971" y="92810"/>
                      <a:pt x="162422" y="92810"/>
                    </a:cubicBezTo>
                    <a:cubicBezTo>
                      <a:pt x="200873" y="92810"/>
                      <a:pt x="232031" y="123969"/>
                      <a:pt x="232031" y="162420"/>
                    </a:cubicBezTo>
                    <a:cubicBezTo>
                      <a:pt x="232011" y="182495"/>
                      <a:pt x="223765" y="201678"/>
                      <a:pt x="209201" y="215477"/>
                    </a:cubicBezTo>
                    <a:cubicBezTo>
                      <a:pt x="197496" y="226912"/>
                      <a:pt x="181565" y="232941"/>
                      <a:pt x="165239" y="232112"/>
                    </a:cubicBezTo>
                    <a:lnTo>
                      <a:pt x="161551" y="231843"/>
                    </a:lnTo>
                    <a:lnTo>
                      <a:pt x="161531" y="231864"/>
                    </a:lnTo>
                    <a:cubicBezTo>
                      <a:pt x="130393" y="226830"/>
                      <a:pt x="98572" y="235137"/>
                      <a:pt x="73900" y="254797"/>
                    </a:cubicBezTo>
                    <a:cubicBezTo>
                      <a:pt x="55130" y="273132"/>
                      <a:pt x="45103" y="298635"/>
                      <a:pt x="46408" y="324842"/>
                    </a:cubicBezTo>
                    <a:lnTo>
                      <a:pt x="46408" y="371248"/>
                    </a:lnTo>
                    <a:cubicBezTo>
                      <a:pt x="46408" y="396875"/>
                      <a:pt x="67188" y="417654"/>
                      <a:pt x="92815" y="417654"/>
                    </a:cubicBezTo>
                    <a:cubicBezTo>
                      <a:pt x="118441" y="417654"/>
                      <a:pt x="139221" y="396875"/>
                      <a:pt x="139221" y="37124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" name="Google Shape;9512;p5">
                <a:extLst>
                  <a:ext uri="{FF2B5EF4-FFF2-40B4-BE49-F238E27FC236}">
                    <a16:creationId xmlns:a16="http://schemas.microsoft.com/office/drawing/2014/main" id="{5721EDCD-4475-E4C8-81F9-4EA7D144B9A2}"/>
                  </a:ext>
                </a:extLst>
              </p:cNvPr>
              <p:cNvSpPr/>
              <p:nvPr/>
            </p:nvSpPr>
            <p:spPr>
              <a:xfrm>
                <a:off x="-13949204" y="9912862"/>
                <a:ext cx="92812" cy="139218"/>
              </a:xfrm>
              <a:custGeom>
                <a:avLst/>
                <a:gdLst/>
                <a:ahLst/>
                <a:cxnLst/>
                <a:rect l="l" t="t" r="r" b="b"/>
                <a:pathLst>
                  <a:path w="92812" h="139218" extrusionOk="0">
                    <a:moveTo>
                      <a:pt x="46406" y="0"/>
                    </a:moveTo>
                    <a:cubicBezTo>
                      <a:pt x="20779" y="0"/>
                      <a:pt x="0" y="20779"/>
                      <a:pt x="0" y="46406"/>
                    </a:cubicBezTo>
                    <a:lnTo>
                      <a:pt x="0" y="92813"/>
                    </a:lnTo>
                    <a:cubicBezTo>
                      <a:pt x="0" y="118439"/>
                      <a:pt x="20779" y="139219"/>
                      <a:pt x="46406" y="139219"/>
                    </a:cubicBezTo>
                    <a:cubicBezTo>
                      <a:pt x="72033" y="139219"/>
                      <a:pt x="92813" y="118439"/>
                      <a:pt x="92813" y="92813"/>
                    </a:cubicBezTo>
                    <a:lnTo>
                      <a:pt x="92813" y="46406"/>
                    </a:lnTo>
                    <a:cubicBezTo>
                      <a:pt x="92813" y="20779"/>
                      <a:pt x="72033" y="0"/>
                      <a:pt x="4640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2" name="Google Shape;9513;p5">
                <a:extLst>
                  <a:ext uri="{FF2B5EF4-FFF2-40B4-BE49-F238E27FC236}">
                    <a16:creationId xmlns:a16="http://schemas.microsoft.com/office/drawing/2014/main" id="{7D3518F0-203F-D3A8-09B7-829F949390B4}"/>
                  </a:ext>
                </a:extLst>
              </p:cNvPr>
              <p:cNvSpPr/>
              <p:nvPr/>
            </p:nvSpPr>
            <p:spPr>
              <a:xfrm>
                <a:off x="-15387813" y="10648552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92828" y="1112445"/>
                    </a:move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2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2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1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8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7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close/>
                    <a:moveTo>
                      <a:pt x="603297" y="1120566"/>
                    </a:moveTo>
                    <a:lnTo>
                      <a:pt x="742515" y="1120566"/>
                    </a:lnTo>
                    <a:lnTo>
                      <a:pt x="742515" y="1607832"/>
                    </a:lnTo>
                    <a:cubicBezTo>
                      <a:pt x="742515" y="1646283"/>
                      <a:pt x="711357" y="1677441"/>
                      <a:pt x="672906" y="1677441"/>
                    </a:cubicBezTo>
                    <a:cubicBezTo>
                      <a:pt x="634455" y="1677441"/>
                      <a:pt x="603297" y="1646283"/>
                      <a:pt x="603297" y="1607832"/>
                    </a:cubicBezTo>
                    <a:close/>
                    <a:moveTo>
                      <a:pt x="185640" y="1120566"/>
                    </a:moveTo>
                    <a:lnTo>
                      <a:pt x="324859" y="1120566"/>
                    </a:lnTo>
                    <a:lnTo>
                      <a:pt x="324859" y="1607832"/>
                    </a:lnTo>
                    <a:cubicBezTo>
                      <a:pt x="324859" y="1646283"/>
                      <a:pt x="293701" y="1677441"/>
                      <a:pt x="255250" y="1677441"/>
                    </a:cubicBezTo>
                    <a:cubicBezTo>
                      <a:pt x="216799" y="1677441"/>
                      <a:pt x="185640" y="1646283"/>
                      <a:pt x="185640" y="160783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3" name="Google Shape;9514;p5">
                <a:extLst>
                  <a:ext uri="{FF2B5EF4-FFF2-40B4-BE49-F238E27FC236}">
                    <a16:creationId xmlns:a16="http://schemas.microsoft.com/office/drawing/2014/main" id="{15F3E91B-367E-A154-987E-4A6645803149}"/>
                  </a:ext>
                </a:extLst>
              </p:cNvPr>
              <p:cNvSpPr/>
              <p:nvPr/>
            </p:nvSpPr>
            <p:spPr>
              <a:xfrm>
                <a:off x="-15202173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2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6" name="Group 9535">
            <a:extLst>
              <a:ext uri="{FF2B5EF4-FFF2-40B4-BE49-F238E27FC236}">
                <a16:creationId xmlns:a16="http://schemas.microsoft.com/office/drawing/2014/main" id="{1902C08F-696C-93E4-C779-0F74A8FA44CA}"/>
              </a:ext>
            </a:extLst>
          </p:cNvPr>
          <p:cNvGrpSpPr/>
          <p:nvPr/>
        </p:nvGrpSpPr>
        <p:grpSpPr>
          <a:xfrm>
            <a:off x="517429" y="4096561"/>
            <a:ext cx="863600" cy="863600"/>
            <a:chOff x="476251" y="5108875"/>
            <a:chExt cx="863600" cy="863600"/>
          </a:xfrm>
        </p:grpSpPr>
        <p:sp>
          <p:nvSpPr>
            <p:cNvPr id="9521" name="Oval 9520">
              <a:extLst>
                <a:ext uri="{FF2B5EF4-FFF2-40B4-BE49-F238E27FC236}">
                  <a16:creationId xmlns:a16="http://schemas.microsoft.com/office/drawing/2014/main" id="{CEEE2DDB-C283-3F6B-38DB-01D3C44CDE38}"/>
                </a:ext>
              </a:extLst>
            </p:cNvPr>
            <p:cNvSpPr/>
            <p:nvPr/>
          </p:nvSpPr>
          <p:spPr>
            <a:xfrm>
              <a:off x="476251" y="510887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Google Shape;9503;p5">
              <a:extLst>
                <a:ext uri="{FF2B5EF4-FFF2-40B4-BE49-F238E27FC236}">
                  <a16:creationId xmlns:a16="http://schemas.microsoft.com/office/drawing/2014/main" id="{15D32ADE-D15A-785D-2900-F20A58D26B8E}"/>
                </a:ext>
              </a:extLst>
            </p:cNvPr>
            <p:cNvSpPr/>
            <p:nvPr/>
          </p:nvSpPr>
          <p:spPr>
            <a:xfrm>
              <a:off x="647888" y="5280799"/>
              <a:ext cx="520326" cy="519752"/>
            </a:xfrm>
            <a:custGeom>
              <a:avLst/>
              <a:gdLst/>
              <a:ahLst/>
              <a:cxnLst/>
              <a:rect l="l" t="t" r="r" b="b"/>
              <a:pathLst>
                <a:path w="2858148" h="2854972" extrusionOk="0">
                  <a:moveTo>
                    <a:pt x="1376992" y="1372959"/>
                  </a:moveTo>
                  <a:lnTo>
                    <a:pt x="1376992" y="40542"/>
                  </a:lnTo>
                  <a:cubicBezTo>
                    <a:pt x="1376992" y="29334"/>
                    <a:pt x="1372351" y="18644"/>
                    <a:pt x="1364188" y="10958"/>
                  </a:cubicBezTo>
                  <a:cubicBezTo>
                    <a:pt x="1356026" y="3293"/>
                    <a:pt x="1345046" y="-705"/>
                    <a:pt x="1333838" y="102"/>
                  </a:cubicBezTo>
                  <a:cubicBezTo>
                    <a:pt x="972447" y="23927"/>
                    <a:pt x="636418" y="182784"/>
                    <a:pt x="387574" y="447469"/>
                  </a:cubicBezTo>
                  <a:cubicBezTo>
                    <a:pt x="137644" y="713332"/>
                    <a:pt x="0" y="1060881"/>
                    <a:pt x="0" y="1425978"/>
                  </a:cubicBezTo>
                  <a:cubicBezTo>
                    <a:pt x="0" y="1647296"/>
                    <a:pt x="49307" y="1859567"/>
                    <a:pt x="146575" y="2056891"/>
                  </a:cubicBezTo>
                  <a:cubicBezTo>
                    <a:pt x="151526" y="2066939"/>
                    <a:pt x="160435" y="2074501"/>
                    <a:pt x="171145" y="2077753"/>
                  </a:cubicBezTo>
                  <a:cubicBezTo>
                    <a:pt x="174978" y="2078934"/>
                    <a:pt x="178935" y="2079494"/>
                    <a:pt x="182892" y="2079494"/>
                  </a:cubicBezTo>
                  <a:cubicBezTo>
                    <a:pt x="189935" y="2079494"/>
                    <a:pt x="196938" y="2077671"/>
                    <a:pt x="203153" y="2074087"/>
                  </a:cubicBezTo>
                  <a:lnTo>
                    <a:pt x="1356733" y="1408064"/>
                  </a:lnTo>
                  <a:cubicBezTo>
                    <a:pt x="1369246" y="1400813"/>
                    <a:pt x="1376994" y="1387451"/>
                    <a:pt x="1376994" y="1372969"/>
                  </a:cubicBezTo>
                  <a:close/>
                  <a:moveTo>
                    <a:pt x="1295990" y="1349569"/>
                  </a:moveTo>
                  <a:lnTo>
                    <a:pt x="200697" y="1981913"/>
                  </a:lnTo>
                  <a:cubicBezTo>
                    <a:pt x="121228" y="1806959"/>
                    <a:pt x="80995" y="1620152"/>
                    <a:pt x="80995" y="1425887"/>
                  </a:cubicBezTo>
                  <a:cubicBezTo>
                    <a:pt x="80995" y="732657"/>
                    <a:pt x="611267" y="151598"/>
                    <a:pt x="1295990" y="84402"/>
                  </a:cubicBezTo>
                  <a:close/>
                  <a:moveTo>
                    <a:pt x="2603215" y="2163455"/>
                  </a:moveTo>
                  <a:lnTo>
                    <a:pt x="1449317" y="1497273"/>
                  </a:lnTo>
                  <a:cubicBezTo>
                    <a:pt x="1436783" y="1490043"/>
                    <a:pt x="1421349" y="1490043"/>
                    <a:pt x="1408815" y="1497273"/>
                  </a:cubicBezTo>
                  <a:lnTo>
                    <a:pt x="254917" y="2163455"/>
                  </a:lnTo>
                  <a:cubicBezTo>
                    <a:pt x="245201" y="2169049"/>
                    <a:pt x="238240" y="2178454"/>
                    <a:pt x="235712" y="2189372"/>
                  </a:cubicBezTo>
                  <a:cubicBezTo>
                    <a:pt x="233184" y="2200290"/>
                    <a:pt x="235277" y="2211767"/>
                    <a:pt x="241534" y="2221090"/>
                  </a:cubicBezTo>
                  <a:cubicBezTo>
                    <a:pt x="507810" y="2618009"/>
                    <a:pt x="951735" y="2854973"/>
                    <a:pt x="1429056" y="2854973"/>
                  </a:cubicBezTo>
                  <a:cubicBezTo>
                    <a:pt x="1906378" y="2854973"/>
                    <a:pt x="2350287" y="2617988"/>
                    <a:pt x="2616579" y="2221090"/>
                  </a:cubicBezTo>
                  <a:cubicBezTo>
                    <a:pt x="2622836" y="2211788"/>
                    <a:pt x="2624928" y="2200290"/>
                    <a:pt x="2622401" y="2189372"/>
                  </a:cubicBezTo>
                  <a:cubicBezTo>
                    <a:pt x="2619853" y="2178433"/>
                    <a:pt x="2612892" y="2169069"/>
                    <a:pt x="2603175" y="2163434"/>
                  </a:cubicBezTo>
                  <a:close/>
                  <a:moveTo>
                    <a:pt x="1429057" y="2774002"/>
                  </a:moveTo>
                  <a:cubicBezTo>
                    <a:pt x="993273" y="2774002"/>
                    <a:pt x="586956" y="2564553"/>
                    <a:pt x="333551" y="2211611"/>
                  </a:cubicBezTo>
                  <a:lnTo>
                    <a:pt x="1429057" y="1579107"/>
                  </a:lnTo>
                  <a:lnTo>
                    <a:pt x="2524563" y="2211611"/>
                  </a:lnTo>
                  <a:cubicBezTo>
                    <a:pt x="2271132" y="2564548"/>
                    <a:pt x="1864851" y="2774002"/>
                    <a:pt x="1429057" y="2774002"/>
                  </a:cubicBezTo>
                  <a:close/>
                  <a:moveTo>
                    <a:pt x="2470572" y="447431"/>
                  </a:moveTo>
                  <a:cubicBezTo>
                    <a:pt x="2221739" y="182751"/>
                    <a:pt x="1885694" y="23893"/>
                    <a:pt x="1524309" y="107"/>
                  </a:cubicBezTo>
                  <a:cubicBezTo>
                    <a:pt x="1513142" y="-660"/>
                    <a:pt x="1502162" y="3297"/>
                    <a:pt x="1493958" y="10963"/>
                  </a:cubicBezTo>
                  <a:cubicBezTo>
                    <a:pt x="1485796" y="18607"/>
                    <a:pt x="1481155" y="29318"/>
                    <a:pt x="1481155" y="40546"/>
                  </a:cubicBezTo>
                  <a:lnTo>
                    <a:pt x="1481155" y="1372963"/>
                  </a:lnTo>
                  <a:cubicBezTo>
                    <a:pt x="1481155" y="1387444"/>
                    <a:pt x="1488862" y="1400806"/>
                    <a:pt x="1501416" y="1408037"/>
                  </a:cubicBezTo>
                  <a:lnTo>
                    <a:pt x="2654996" y="2074059"/>
                  </a:lnTo>
                  <a:cubicBezTo>
                    <a:pt x="2661211" y="2077644"/>
                    <a:pt x="2668214" y="2079466"/>
                    <a:pt x="2675257" y="2079466"/>
                  </a:cubicBezTo>
                  <a:cubicBezTo>
                    <a:pt x="2679194" y="2079466"/>
                    <a:pt x="2683171" y="2078886"/>
                    <a:pt x="2687004" y="2077726"/>
                  </a:cubicBezTo>
                  <a:cubicBezTo>
                    <a:pt x="2697714" y="2074474"/>
                    <a:pt x="2706623" y="2066932"/>
                    <a:pt x="2711574" y="2056864"/>
                  </a:cubicBezTo>
                  <a:cubicBezTo>
                    <a:pt x="2808842" y="1859513"/>
                    <a:pt x="2858149" y="1647248"/>
                    <a:pt x="2858149" y="1425951"/>
                  </a:cubicBezTo>
                  <a:cubicBezTo>
                    <a:pt x="2858149" y="1060832"/>
                    <a:pt x="2720505" y="713310"/>
                    <a:pt x="2470574" y="447442"/>
                  </a:cubicBezTo>
                  <a:close/>
                  <a:moveTo>
                    <a:pt x="2657460" y="1981913"/>
                  </a:moveTo>
                  <a:lnTo>
                    <a:pt x="1562166" y="1349569"/>
                  </a:lnTo>
                  <a:lnTo>
                    <a:pt x="1562145" y="84455"/>
                  </a:lnTo>
                  <a:cubicBezTo>
                    <a:pt x="2246889" y="151662"/>
                    <a:pt x="2777140" y="732710"/>
                    <a:pt x="2777140" y="1425940"/>
                  </a:cubicBezTo>
                  <a:cubicBezTo>
                    <a:pt x="2777140" y="1620183"/>
                    <a:pt x="2736888" y="1806991"/>
                    <a:pt x="2657439" y="1981967"/>
                  </a:cubicBezTo>
                  <a:close/>
                  <a:moveTo>
                    <a:pt x="1449041" y="1811102"/>
                  </a:moveTo>
                  <a:lnTo>
                    <a:pt x="1754951" y="1984237"/>
                  </a:lnTo>
                  <a:lnTo>
                    <a:pt x="1738087" y="1917571"/>
                  </a:lnTo>
                  <a:cubicBezTo>
                    <a:pt x="1732618" y="1895880"/>
                    <a:pt x="1745732" y="1873858"/>
                    <a:pt x="1767422" y="1868388"/>
                  </a:cubicBezTo>
                  <a:cubicBezTo>
                    <a:pt x="1789113" y="1862940"/>
                    <a:pt x="1811135" y="1876033"/>
                    <a:pt x="1816604" y="1897724"/>
                  </a:cubicBezTo>
                  <a:lnTo>
                    <a:pt x="1856692" y="2056210"/>
                  </a:lnTo>
                  <a:cubicBezTo>
                    <a:pt x="1862161" y="2077901"/>
                    <a:pt x="1849047" y="2099923"/>
                    <a:pt x="1827357" y="2105392"/>
                  </a:cubicBezTo>
                  <a:lnTo>
                    <a:pt x="1668870" y="2145480"/>
                  </a:lnTo>
                  <a:cubicBezTo>
                    <a:pt x="1647221" y="2150949"/>
                    <a:pt x="1625157" y="2137835"/>
                    <a:pt x="1619688" y="2116145"/>
                  </a:cubicBezTo>
                  <a:cubicBezTo>
                    <a:pt x="1614219" y="2094454"/>
                    <a:pt x="1627333" y="2072432"/>
                    <a:pt x="1649023" y="2066963"/>
                  </a:cubicBezTo>
                  <a:lnTo>
                    <a:pt x="1709601" y="2051653"/>
                  </a:lnTo>
                  <a:lnTo>
                    <a:pt x="1430542" y="1893750"/>
                  </a:lnTo>
                  <a:lnTo>
                    <a:pt x="1031470" y="2152919"/>
                  </a:lnTo>
                  <a:cubicBezTo>
                    <a:pt x="1024654" y="2157353"/>
                    <a:pt x="1017030" y="2159445"/>
                    <a:pt x="1009448" y="2159445"/>
                  </a:cubicBezTo>
                  <a:cubicBezTo>
                    <a:pt x="996210" y="2159445"/>
                    <a:pt x="983220" y="2152940"/>
                    <a:pt x="975451" y="2141007"/>
                  </a:cubicBezTo>
                  <a:cubicBezTo>
                    <a:pt x="963269" y="2122258"/>
                    <a:pt x="968614" y="2097170"/>
                    <a:pt x="987363" y="2084991"/>
                  </a:cubicBezTo>
                  <a:lnTo>
                    <a:pt x="1407030" y="1812456"/>
                  </a:lnTo>
                  <a:cubicBezTo>
                    <a:pt x="1419688" y="1804149"/>
                    <a:pt x="1435909" y="1803651"/>
                    <a:pt x="1449044" y="1811109"/>
                  </a:cubicBezTo>
                  <a:close/>
                  <a:moveTo>
                    <a:pt x="1180134" y="2326582"/>
                  </a:moveTo>
                  <a:lnTo>
                    <a:pt x="1009385" y="2326582"/>
                  </a:lnTo>
                  <a:cubicBezTo>
                    <a:pt x="987011" y="2326582"/>
                    <a:pt x="968883" y="2344710"/>
                    <a:pt x="968883" y="2367084"/>
                  </a:cubicBezTo>
                  <a:lnTo>
                    <a:pt x="968883" y="2551569"/>
                  </a:lnTo>
                  <a:cubicBezTo>
                    <a:pt x="968883" y="2573943"/>
                    <a:pt x="987011" y="2592070"/>
                    <a:pt x="1009385" y="2592070"/>
                  </a:cubicBezTo>
                  <a:lnTo>
                    <a:pt x="1180134" y="2592070"/>
                  </a:lnTo>
                  <a:cubicBezTo>
                    <a:pt x="1202508" y="2592070"/>
                    <a:pt x="1220636" y="2573943"/>
                    <a:pt x="1220636" y="2551569"/>
                  </a:cubicBezTo>
                  <a:lnTo>
                    <a:pt x="1220636" y="2367084"/>
                  </a:lnTo>
                  <a:cubicBezTo>
                    <a:pt x="1220636" y="2344709"/>
                    <a:pt x="1202508" y="2326582"/>
                    <a:pt x="1180134" y="2326582"/>
                  </a:cubicBezTo>
                  <a:close/>
                  <a:moveTo>
                    <a:pt x="1139632" y="2511067"/>
                  </a:moveTo>
                  <a:lnTo>
                    <a:pt x="1049885" y="2511067"/>
                  </a:lnTo>
                  <a:lnTo>
                    <a:pt x="1049885" y="2407584"/>
                  </a:lnTo>
                  <a:lnTo>
                    <a:pt x="1139632" y="2407584"/>
                  </a:lnTo>
                  <a:close/>
                  <a:moveTo>
                    <a:pt x="1678051" y="2326582"/>
                  </a:moveTo>
                  <a:cubicBezTo>
                    <a:pt x="1655676" y="2326582"/>
                    <a:pt x="1637549" y="2344710"/>
                    <a:pt x="1637549" y="2367084"/>
                  </a:cubicBezTo>
                  <a:lnTo>
                    <a:pt x="1637549" y="2551569"/>
                  </a:lnTo>
                  <a:cubicBezTo>
                    <a:pt x="1637549" y="2573943"/>
                    <a:pt x="1655676" y="2592070"/>
                    <a:pt x="1678051" y="2592070"/>
                  </a:cubicBezTo>
                  <a:lnTo>
                    <a:pt x="1848799" y="2592070"/>
                  </a:lnTo>
                  <a:cubicBezTo>
                    <a:pt x="1871174" y="2592070"/>
                    <a:pt x="1889301" y="2573943"/>
                    <a:pt x="1889301" y="2551569"/>
                  </a:cubicBezTo>
                  <a:lnTo>
                    <a:pt x="1889301" y="2367084"/>
                  </a:lnTo>
                  <a:cubicBezTo>
                    <a:pt x="1889301" y="2344709"/>
                    <a:pt x="1871173" y="2326582"/>
                    <a:pt x="1848799" y="2326582"/>
                  </a:cubicBezTo>
                  <a:close/>
                  <a:moveTo>
                    <a:pt x="1808301" y="2511067"/>
                  </a:moveTo>
                  <a:lnTo>
                    <a:pt x="1718554" y="2511067"/>
                  </a:lnTo>
                  <a:lnTo>
                    <a:pt x="1718554" y="2407584"/>
                  </a:lnTo>
                  <a:lnTo>
                    <a:pt x="1808301" y="2407584"/>
                  </a:lnTo>
                  <a:close/>
                  <a:moveTo>
                    <a:pt x="1514494" y="2144829"/>
                  </a:moveTo>
                  <a:lnTo>
                    <a:pt x="1343724" y="2144829"/>
                  </a:lnTo>
                  <a:cubicBezTo>
                    <a:pt x="1321349" y="2144829"/>
                    <a:pt x="1303222" y="2162956"/>
                    <a:pt x="1303222" y="2185330"/>
                  </a:cubicBezTo>
                  <a:lnTo>
                    <a:pt x="1303222" y="2551569"/>
                  </a:lnTo>
                  <a:cubicBezTo>
                    <a:pt x="1303222" y="2573943"/>
                    <a:pt x="1321350" y="2592070"/>
                    <a:pt x="1343724" y="2592070"/>
                  </a:cubicBezTo>
                  <a:lnTo>
                    <a:pt x="1514494" y="2592070"/>
                  </a:lnTo>
                  <a:cubicBezTo>
                    <a:pt x="1536868" y="2592070"/>
                    <a:pt x="1554996" y="2573943"/>
                    <a:pt x="1554996" y="2551569"/>
                  </a:cubicBezTo>
                  <a:lnTo>
                    <a:pt x="1554975" y="2185330"/>
                  </a:lnTo>
                  <a:cubicBezTo>
                    <a:pt x="1554975" y="2162956"/>
                    <a:pt x="1536847" y="2144829"/>
                    <a:pt x="1514494" y="2144829"/>
                  </a:cubicBezTo>
                  <a:close/>
                  <a:moveTo>
                    <a:pt x="1473992" y="2511067"/>
                  </a:moveTo>
                  <a:lnTo>
                    <a:pt x="1384245" y="2511067"/>
                  </a:lnTo>
                  <a:lnTo>
                    <a:pt x="1384245" y="2225814"/>
                  </a:lnTo>
                  <a:lnTo>
                    <a:pt x="1473992" y="2225814"/>
                  </a:lnTo>
                  <a:close/>
                  <a:moveTo>
                    <a:pt x="1862871" y="858633"/>
                  </a:moveTo>
                  <a:lnTo>
                    <a:pt x="1692101" y="858633"/>
                  </a:lnTo>
                  <a:cubicBezTo>
                    <a:pt x="1669727" y="858633"/>
                    <a:pt x="1651600" y="876761"/>
                    <a:pt x="1651600" y="899135"/>
                  </a:cubicBezTo>
                  <a:lnTo>
                    <a:pt x="1651600" y="1265373"/>
                  </a:lnTo>
                  <a:cubicBezTo>
                    <a:pt x="1651600" y="1287748"/>
                    <a:pt x="1669727" y="1305875"/>
                    <a:pt x="1692101" y="1305875"/>
                  </a:cubicBezTo>
                  <a:lnTo>
                    <a:pt x="1862871" y="1305875"/>
                  </a:lnTo>
                  <a:cubicBezTo>
                    <a:pt x="1885246" y="1305875"/>
                    <a:pt x="1903373" y="1287747"/>
                    <a:pt x="1903373" y="1265373"/>
                  </a:cubicBezTo>
                  <a:lnTo>
                    <a:pt x="1903373" y="899114"/>
                  </a:lnTo>
                  <a:cubicBezTo>
                    <a:pt x="1903373" y="876760"/>
                    <a:pt x="1885245" y="858632"/>
                    <a:pt x="1862871" y="858632"/>
                  </a:cubicBezTo>
                  <a:close/>
                  <a:moveTo>
                    <a:pt x="1822369" y="1224871"/>
                  </a:moveTo>
                  <a:lnTo>
                    <a:pt x="1732601" y="1224871"/>
                  </a:lnTo>
                  <a:lnTo>
                    <a:pt x="1732601" y="939619"/>
                  </a:lnTo>
                  <a:lnTo>
                    <a:pt x="1822348" y="939619"/>
                  </a:lnTo>
                  <a:lnTo>
                    <a:pt x="1822348" y="1224871"/>
                  </a:lnTo>
                  <a:close/>
                  <a:moveTo>
                    <a:pt x="2531510" y="858633"/>
                  </a:moveTo>
                  <a:lnTo>
                    <a:pt x="2360740" y="858633"/>
                  </a:lnTo>
                  <a:cubicBezTo>
                    <a:pt x="2338365" y="858633"/>
                    <a:pt x="2320238" y="876761"/>
                    <a:pt x="2320238" y="899135"/>
                  </a:cubicBezTo>
                  <a:lnTo>
                    <a:pt x="2320238" y="1265373"/>
                  </a:lnTo>
                  <a:cubicBezTo>
                    <a:pt x="2320238" y="1287748"/>
                    <a:pt x="2338366" y="1305875"/>
                    <a:pt x="2360740" y="1305875"/>
                  </a:cubicBezTo>
                  <a:lnTo>
                    <a:pt x="2531510" y="1305875"/>
                  </a:lnTo>
                  <a:cubicBezTo>
                    <a:pt x="2553885" y="1305875"/>
                    <a:pt x="2572012" y="1287747"/>
                    <a:pt x="2572012" y="1265373"/>
                  </a:cubicBezTo>
                  <a:lnTo>
                    <a:pt x="2572012" y="899114"/>
                  </a:lnTo>
                  <a:cubicBezTo>
                    <a:pt x="2572012" y="876760"/>
                    <a:pt x="2553884" y="858632"/>
                    <a:pt x="2531510" y="858632"/>
                  </a:cubicBezTo>
                  <a:close/>
                  <a:moveTo>
                    <a:pt x="2491029" y="1224871"/>
                  </a:moveTo>
                  <a:lnTo>
                    <a:pt x="2401282" y="1224871"/>
                  </a:lnTo>
                  <a:lnTo>
                    <a:pt x="2401282" y="939619"/>
                  </a:lnTo>
                  <a:lnTo>
                    <a:pt x="2491029" y="939619"/>
                  </a:lnTo>
                  <a:close/>
                  <a:moveTo>
                    <a:pt x="2197179" y="1040386"/>
                  </a:moveTo>
                  <a:lnTo>
                    <a:pt x="2026430" y="1040386"/>
                  </a:lnTo>
                  <a:cubicBezTo>
                    <a:pt x="2004056" y="1040386"/>
                    <a:pt x="1985929" y="1058514"/>
                    <a:pt x="1985929" y="1080888"/>
                  </a:cubicBezTo>
                  <a:lnTo>
                    <a:pt x="1985929" y="1265394"/>
                  </a:lnTo>
                  <a:cubicBezTo>
                    <a:pt x="1985929" y="1287769"/>
                    <a:pt x="2004056" y="1305896"/>
                    <a:pt x="2026430" y="1305896"/>
                  </a:cubicBezTo>
                  <a:lnTo>
                    <a:pt x="2197179" y="1305896"/>
                  </a:lnTo>
                  <a:cubicBezTo>
                    <a:pt x="2219554" y="1305896"/>
                    <a:pt x="2237681" y="1287768"/>
                    <a:pt x="2237681" y="1265394"/>
                  </a:cubicBezTo>
                  <a:lnTo>
                    <a:pt x="2237681" y="1080888"/>
                  </a:lnTo>
                  <a:cubicBezTo>
                    <a:pt x="2237681" y="1058514"/>
                    <a:pt x="2219553" y="1040386"/>
                    <a:pt x="2197179" y="1040386"/>
                  </a:cubicBezTo>
                  <a:close/>
                  <a:moveTo>
                    <a:pt x="2156677" y="1224871"/>
                  </a:moveTo>
                  <a:lnTo>
                    <a:pt x="2066930" y="1224871"/>
                  </a:lnTo>
                  <a:lnTo>
                    <a:pt x="2066930" y="1121388"/>
                  </a:lnTo>
                  <a:lnTo>
                    <a:pt x="2156677" y="1121388"/>
                  </a:lnTo>
                  <a:close/>
                  <a:moveTo>
                    <a:pt x="2310603" y="757701"/>
                  </a:moveTo>
                  <a:lnTo>
                    <a:pt x="2322474" y="702156"/>
                  </a:lnTo>
                  <a:lnTo>
                    <a:pt x="2077910" y="882064"/>
                  </a:lnTo>
                  <a:cubicBezTo>
                    <a:pt x="2070700" y="887347"/>
                    <a:pt x="2062290" y="889957"/>
                    <a:pt x="2053941" y="889957"/>
                  </a:cubicBezTo>
                  <a:cubicBezTo>
                    <a:pt x="2042671" y="889957"/>
                    <a:pt x="2031545" y="885296"/>
                    <a:pt x="2023590" y="876284"/>
                  </a:cubicBezTo>
                  <a:lnTo>
                    <a:pt x="1886254" y="720969"/>
                  </a:lnTo>
                  <a:lnTo>
                    <a:pt x="1742082" y="817097"/>
                  </a:lnTo>
                  <a:cubicBezTo>
                    <a:pt x="1723498" y="829506"/>
                    <a:pt x="1698327" y="824492"/>
                    <a:pt x="1685938" y="805868"/>
                  </a:cubicBezTo>
                  <a:cubicBezTo>
                    <a:pt x="1673529" y="787243"/>
                    <a:pt x="1678542" y="762113"/>
                    <a:pt x="1697167" y="749724"/>
                  </a:cubicBezTo>
                  <a:lnTo>
                    <a:pt x="1870753" y="634021"/>
                  </a:lnTo>
                  <a:cubicBezTo>
                    <a:pt x="1887617" y="622793"/>
                    <a:pt x="1910136" y="625735"/>
                    <a:pt x="1923560" y="640900"/>
                  </a:cubicBezTo>
                  <a:lnTo>
                    <a:pt x="2059777" y="794931"/>
                  </a:lnTo>
                  <a:lnTo>
                    <a:pt x="2287916" y="627121"/>
                  </a:lnTo>
                  <a:lnTo>
                    <a:pt x="2216132" y="611749"/>
                  </a:lnTo>
                  <a:cubicBezTo>
                    <a:pt x="2194255" y="607088"/>
                    <a:pt x="2180333" y="585542"/>
                    <a:pt x="2185015" y="563665"/>
                  </a:cubicBezTo>
                  <a:cubicBezTo>
                    <a:pt x="2189676" y="541788"/>
                    <a:pt x="2211222" y="527866"/>
                    <a:pt x="2233099" y="532548"/>
                  </a:cubicBezTo>
                  <a:lnTo>
                    <a:pt x="2392954" y="566772"/>
                  </a:lnTo>
                  <a:cubicBezTo>
                    <a:pt x="2403479" y="569030"/>
                    <a:pt x="2412635" y="575349"/>
                    <a:pt x="2418477" y="584382"/>
                  </a:cubicBezTo>
                  <a:cubicBezTo>
                    <a:pt x="2424320" y="593393"/>
                    <a:pt x="2426330" y="604373"/>
                    <a:pt x="2424071" y="614856"/>
                  </a:cubicBezTo>
                  <a:lnTo>
                    <a:pt x="2389847" y="774711"/>
                  </a:lnTo>
                  <a:cubicBezTo>
                    <a:pt x="2385185" y="796589"/>
                    <a:pt x="2363640" y="810510"/>
                    <a:pt x="2341762" y="805829"/>
                  </a:cubicBezTo>
                  <a:cubicBezTo>
                    <a:pt x="2319844" y="801105"/>
                    <a:pt x="2305922" y="779580"/>
                    <a:pt x="2310604" y="757703"/>
                  </a:cubicBezTo>
                  <a:close/>
                  <a:moveTo>
                    <a:pt x="971981" y="477439"/>
                  </a:moveTo>
                  <a:cubicBezTo>
                    <a:pt x="981242" y="457074"/>
                    <a:pt x="1005232" y="448082"/>
                    <a:pt x="1025616" y="457364"/>
                  </a:cubicBezTo>
                  <a:lnTo>
                    <a:pt x="1174429" y="525048"/>
                  </a:lnTo>
                  <a:cubicBezTo>
                    <a:pt x="1194794" y="534308"/>
                    <a:pt x="1203786" y="558340"/>
                    <a:pt x="1194504" y="578683"/>
                  </a:cubicBezTo>
                  <a:lnTo>
                    <a:pt x="1126820" y="727496"/>
                  </a:lnTo>
                  <a:cubicBezTo>
                    <a:pt x="1117539" y="747861"/>
                    <a:pt x="1093528" y="756852"/>
                    <a:pt x="1073185" y="747571"/>
                  </a:cubicBezTo>
                  <a:cubicBezTo>
                    <a:pt x="1052820" y="738310"/>
                    <a:pt x="1043829" y="714279"/>
                    <a:pt x="1053110" y="693936"/>
                  </a:cubicBezTo>
                  <a:lnTo>
                    <a:pt x="1079835" y="635162"/>
                  </a:lnTo>
                  <a:lnTo>
                    <a:pt x="349693" y="915546"/>
                  </a:lnTo>
                  <a:cubicBezTo>
                    <a:pt x="344928" y="917369"/>
                    <a:pt x="340018" y="918239"/>
                    <a:pt x="335190" y="918239"/>
                  </a:cubicBezTo>
                  <a:cubicBezTo>
                    <a:pt x="318928" y="918239"/>
                    <a:pt x="303576" y="908336"/>
                    <a:pt x="297382" y="892260"/>
                  </a:cubicBezTo>
                  <a:cubicBezTo>
                    <a:pt x="289364" y="871377"/>
                    <a:pt x="299785" y="847966"/>
                    <a:pt x="320668" y="839949"/>
                  </a:cubicBezTo>
                  <a:lnTo>
                    <a:pt x="1052932" y="558738"/>
                  </a:lnTo>
                  <a:lnTo>
                    <a:pt x="992105" y="531039"/>
                  </a:lnTo>
                  <a:cubicBezTo>
                    <a:pt x="971678" y="521840"/>
                    <a:pt x="962687" y="497829"/>
                    <a:pt x="971968" y="477446"/>
                  </a:cubicBezTo>
                  <a:close/>
                  <a:moveTo>
                    <a:pt x="1166103" y="858633"/>
                  </a:moveTo>
                  <a:lnTo>
                    <a:pt x="995354" y="858633"/>
                  </a:lnTo>
                  <a:cubicBezTo>
                    <a:pt x="972979" y="858633"/>
                    <a:pt x="954852" y="876761"/>
                    <a:pt x="954852" y="899135"/>
                  </a:cubicBezTo>
                  <a:lnTo>
                    <a:pt x="954852" y="1265373"/>
                  </a:lnTo>
                  <a:cubicBezTo>
                    <a:pt x="954852" y="1287748"/>
                    <a:pt x="972980" y="1305875"/>
                    <a:pt x="995354" y="1305875"/>
                  </a:cubicBezTo>
                  <a:lnTo>
                    <a:pt x="1166103" y="1305875"/>
                  </a:lnTo>
                  <a:cubicBezTo>
                    <a:pt x="1188477" y="1305875"/>
                    <a:pt x="1206604" y="1287747"/>
                    <a:pt x="1206604" y="1265373"/>
                  </a:cubicBezTo>
                  <a:lnTo>
                    <a:pt x="1206604" y="899114"/>
                  </a:lnTo>
                  <a:cubicBezTo>
                    <a:pt x="1206604" y="876760"/>
                    <a:pt x="1188477" y="858632"/>
                    <a:pt x="1166103" y="858632"/>
                  </a:cubicBezTo>
                  <a:close/>
                  <a:moveTo>
                    <a:pt x="1125601" y="1224871"/>
                  </a:moveTo>
                  <a:lnTo>
                    <a:pt x="1035854" y="1224871"/>
                  </a:lnTo>
                  <a:lnTo>
                    <a:pt x="1035854" y="939619"/>
                  </a:lnTo>
                  <a:lnTo>
                    <a:pt x="1125601" y="939619"/>
                  </a:lnTo>
                  <a:close/>
                  <a:moveTo>
                    <a:pt x="831772" y="949499"/>
                  </a:moveTo>
                  <a:lnTo>
                    <a:pt x="661003" y="949499"/>
                  </a:lnTo>
                  <a:cubicBezTo>
                    <a:pt x="638628" y="949499"/>
                    <a:pt x="620501" y="967627"/>
                    <a:pt x="620501" y="990001"/>
                  </a:cubicBezTo>
                  <a:lnTo>
                    <a:pt x="620501" y="1265373"/>
                  </a:lnTo>
                  <a:cubicBezTo>
                    <a:pt x="620501" y="1287748"/>
                    <a:pt x="638629" y="1305875"/>
                    <a:pt x="661003" y="1305875"/>
                  </a:cubicBezTo>
                  <a:lnTo>
                    <a:pt x="831772" y="1305875"/>
                  </a:lnTo>
                  <a:cubicBezTo>
                    <a:pt x="854147" y="1305875"/>
                    <a:pt x="872274" y="1287747"/>
                    <a:pt x="872274" y="1265373"/>
                  </a:cubicBezTo>
                  <a:lnTo>
                    <a:pt x="872274" y="990001"/>
                  </a:lnTo>
                  <a:cubicBezTo>
                    <a:pt x="872254" y="967626"/>
                    <a:pt x="854126" y="949499"/>
                    <a:pt x="831772" y="949499"/>
                  </a:cubicBezTo>
                  <a:close/>
                  <a:moveTo>
                    <a:pt x="791271" y="1224871"/>
                  </a:moveTo>
                  <a:lnTo>
                    <a:pt x="701524" y="1224871"/>
                  </a:lnTo>
                  <a:lnTo>
                    <a:pt x="701524" y="1030485"/>
                  </a:lnTo>
                  <a:lnTo>
                    <a:pt x="791271" y="1030485"/>
                  </a:lnTo>
                  <a:close/>
                  <a:moveTo>
                    <a:pt x="497463" y="1040386"/>
                  </a:moveTo>
                  <a:lnTo>
                    <a:pt x="326715" y="1040386"/>
                  </a:lnTo>
                  <a:cubicBezTo>
                    <a:pt x="304340" y="1040386"/>
                    <a:pt x="286213" y="1058514"/>
                    <a:pt x="286213" y="1080888"/>
                  </a:cubicBezTo>
                  <a:lnTo>
                    <a:pt x="286213" y="1265394"/>
                  </a:lnTo>
                  <a:cubicBezTo>
                    <a:pt x="286213" y="1287769"/>
                    <a:pt x="304341" y="1305896"/>
                    <a:pt x="326715" y="1305896"/>
                  </a:cubicBezTo>
                  <a:lnTo>
                    <a:pt x="497463" y="1305896"/>
                  </a:lnTo>
                  <a:cubicBezTo>
                    <a:pt x="519838" y="1305896"/>
                    <a:pt x="537965" y="1287768"/>
                    <a:pt x="537965" y="1265394"/>
                  </a:cubicBezTo>
                  <a:lnTo>
                    <a:pt x="537965" y="1080888"/>
                  </a:lnTo>
                  <a:cubicBezTo>
                    <a:pt x="537965" y="1058514"/>
                    <a:pt x="519817" y="1040386"/>
                    <a:pt x="497463" y="1040386"/>
                  </a:cubicBezTo>
                  <a:close/>
                  <a:moveTo>
                    <a:pt x="456920" y="1224871"/>
                  </a:moveTo>
                  <a:lnTo>
                    <a:pt x="367173" y="1224871"/>
                  </a:lnTo>
                  <a:lnTo>
                    <a:pt x="367173" y="1121388"/>
                  </a:lnTo>
                  <a:lnTo>
                    <a:pt x="456920" y="112138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9546" name="Freeform: Shape 9545">
            <a:extLst>
              <a:ext uri="{FF2B5EF4-FFF2-40B4-BE49-F238E27FC236}">
                <a16:creationId xmlns:a16="http://schemas.microsoft.com/office/drawing/2014/main" id="{E29E93CA-136F-B81F-27D3-7F69AB541248}"/>
              </a:ext>
            </a:extLst>
          </p:cNvPr>
          <p:cNvSpPr/>
          <p:nvPr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9F7618-98A3-3C7F-4110-E3DBF44F3D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796" r="12510"/>
          <a:stretch/>
        </p:blipFill>
        <p:spPr>
          <a:xfrm>
            <a:off x="7295534" y="1"/>
            <a:ext cx="4896465" cy="6857998"/>
          </a:xfrm>
          <a:prstGeom prst="rect">
            <a:avLst/>
          </a:prstGeom>
        </p:spPr>
      </p:pic>
      <p:sp>
        <p:nvSpPr>
          <p:cNvPr id="9498" name="Google Shape;9498;p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Google Shape;9497;p5">
            <a:extLst>
              <a:ext uri="{FF2B5EF4-FFF2-40B4-BE49-F238E27FC236}">
                <a16:creationId xmlns:a16="http://schemas.microsoft.com/office/drawing/2014/main" id="{C0985640-9605-5009-33B8-6A1FB3C8C6D6}"/>
              </a:ext>
            </a:extLst>
          </p:cNvPr>
          <p:cNvSpPr txBox="1">
            <a:spLocks/>
          </p:cNvSpPr>
          <p:nvPr/>
        </p:nvSpPr>
        <p:spPr>
          <a:xfrm>
            <a:off x="1579288" y="1695478"/>
            <a:ext cx="559237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Google Shape;9497;p5">
            <a:extLst>
              <a:ext uri="{FF2B5EF4-FFF2-40B4-BE49-F238E27FC236}">
                <a16:creationId xmlns:a16="http://schemas.microsoft.com/office/drawing/2014/main" id="{33939007-5596-F20F-5F2E-47D422C1B727}"/>
              </a:ext>
            </a:extLst>
          </p:cNvPr>
          <p:cNvSpPr txBox="1">
            <a:spLocks/>
          </p:cNvSpPr>
          <p:nvPr/>
        </p:nvSpPr>
        <p:spPr>
          <a:xfrm>
            <a:off x="1521506" y="2849211"/>
            <a:ext cx="559237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en-US" sz="2800" b="1" i="0" dirty="0">
                <a:solidFill>
                  <a:srgbClr val="242424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owerful One-liners in Pandas</a:t>
            </a:r>
          </a:p>
        </p:txBody>
      </p:sp>
      <p:sp>
        <p:nvSpPr>
          <p:cNvPr id="9" name="Google Shape;9497;p5">
            <a:extLst>
              <a:ext uri="{FF2B5EF4-FFF2-40B4-BE49-F238E27FC236}">
                <a16:creationId xmlns:a16="http://schemas.microsoft.com/office/drawing/2014/main" id="{5F986B12-1E1D-A9E8-9D9F-4851B7A4EA75}"/>
              </a:ext>
            </a:extLst>
          </p:cNvPr>
          <p:cNvSpPr txBox="1">
            <a:spLocks/>
          </p:cNvSpPr>
          <p:nvPr/>
        </p:nvSpPr>
        <p:spPr>
          <a:xfrm>
            <a:off x="1612333" y="4316918"/>
            <a:ext cx="559237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800" dirty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03455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9B70F-575D-B1FA-A7A2-C17A9B19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1" y="367504"/>
            <a:ext cx="11480800" cy="984885"/>
          </a:xfrm>
        </p:spPr>
        <p:txBody>
          <a:bodyPr/>
          <a:lstStyle/>
          <a:p>
            <a:r>
              <a:rPr lang="en-US" sz="3200" b="1" i="0" dirty="0">
                <a:solidFill>
                  <a:srgbClr val="242424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owerful One-liners in Pandas</a:t>
            </a:r>
            <a:br>
              <a:rPr lang="en-US" sz="3200" b="1" i="0" dirty="0">
                <a:solidFill>
                  <a:srgbClr val="242424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DBF759-B0A6-0766-0A06-D4CBBBB382D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44ECA72-52B2-0685-985C-8478874021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723020"/>
              </p:ext>
            </p:extLst>
          </p:nvPr>
        </p:nvGraphicFramePr>
        <p:xfrm>
          <a:off x="698090" y="1661651"/>
          <a:ext cx="10822039" cy="38404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5397910">
                  <a:extLst>
                    <a:ext uri="{9D8B030D-6E8A-4147-A177-3AD203B41FA5}">
                      <a16:colId xmlns:a16="http://schemas.microsoft.com/office/drawing/2014/main" val="3675818769"/>
                    </a:ext>
                  </a:extLst>
                </a:gridCol>
                <a:gridCol w="5424129">
                  <a:extLst>
                    <a:ext uri="{9D8B030D-6E8A-4147-A177-3AD203B41FA5}">
                      <a16:colId xmlns:a16="http://schemas.microsoft.com/office/drawing/2014/main" val="360085770"/>
                    </a:ext>
                  </a:extLst>
                </a:gridCol>
              </a:tblGrid>
              <a:tr h="1108390">
                <a:tc>
                  <a:txBody>
                    <a:bodyPr/>
                    <a:lstStyle/>
                    <a:p>
                      <a:r>
                        <a:rPr lang="en-US" sz="16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ading Data:</a:t>
                      </a:r>
                    </a:p>
                    <a:p>
                      <a:endParaRPr lang="en-US" sz="16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ading CSV file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d.read_csv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filename.csv'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ading Excel file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d.read_excel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filename.xlsx'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ading SQL table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d.read_sql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SELECT * FROM tablename', connection)</a:t>
                      </a:r>
                    </a:p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ata Manipulation:</a:t>
                      </a:r>
                    </a:p>
                    <a:p>
                      <a:endParaRPr lang="en-US" sz="16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Filtering data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[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['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column_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'] == value]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orting data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sort_values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column_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', ascending=Fals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Aggregating data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groupby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column_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').mean()</a:t>
                      </a:r>
                    </a:p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2934781"/>
                  </a:ext>
                </a:extLst>
              </a:tr>
              <a:tr h="872678">
                <a:tc>
                  <a:txBody>
                    <a:bodyPr/>
                    <a:lstStyle/>
                    <a:p>
                      <a:r>
                        <a:rPr lang="en-US" sz="16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ata Cleaning:</a:t>
                      </a:r>
                    </a:p>
                    <a:p>
                      <a:endParaRPr lang="en-US" sz="1600" b="1" i="0" u="none" strike="noStrike" cap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moving duplicate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drop_duplicates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)</a:t>
                      </a:r>
                    </a:p>
                    <a:p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ealing with missing value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dropna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)</a:t>
                      </a:r>
                    </a:p>
                    <a:p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Renaming column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re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columns={'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old_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': '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new_nam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'})</a:t>
                      </a:r>
                    </a:p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Visualization</a:t>
                      </a:r>
                    </a:p>
                    <a:p>
                      <a:endParaRPr lang="en-US" sz="16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lotting with panda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plot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Customizing plot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plot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kind='bar', title='Title', legend=Tru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aving plots: 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df.plot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).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get_figure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).</a:t>
                      </a:r>
                      <a:r>
                        <a:rPr lang="en-US" sz="16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avefig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('filename.png')</a:t>
                      </a:r>
                    </a:p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1073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151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FC013-C883-0643-7FB6-01BA612E7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B8A5A4-0F66-371F-4C7E-0CFC564543C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A78477-AFA4-6653-5237-A2AF4C33A648}"/>
              </a:ext>
            </a:extLst>
          </p:cNvPr>
          <p:cNvSpPr txBox="1"/>
          <p:nvPr/>
        </p:nvSpPr>
        <p:spPr>
          <a:xfrm>
            <a:off x="1111044" y="1569119"/>
            <a:ext cx="9773266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a Analysis Made Easy with Pandas</a:t>
            </a:r>
          </a:p>
          <a:p>
            <a:pPr algn="ctr"/>
            <a:endParaRPr lang="en-US" sz="2800" b="1" i="0" dirty="0">
              <a:solidFill>
                <a:schemeClr val="tx1"/>
              </a:solidFill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andas is a powerful tool for data analysis and manipulation, and mastering these one-liners can help you become more efficient in your data analysis tasks. Whether you’re reading data, cleaning data, manipulating data, or visualizing data, pandas have a function that can make your job easier.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00D1E3-F4C3-CEBC-BB20-0C6D8B0F3B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9278" y="4163040"/>
            <a:ext cx="1763354" cy="176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342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33</TotalTime>
  <Words>280</Words>
  <Application>Microsoft Office PowerPoint</Application>
  <PresentationFormat>Widescreen</PresentationFormat>
  <Paragraphs>39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entury Gothic</vt:lpstr>
      <vt:lpstr>Trebuchet MS</vt:lpstr>
      <vt:lpstr>1_Office Theme</vt:lpstr>
      <vt:lpstr>2_Office Theme</vt:lpstr>
      <vt:lpstr>think-cell Slide</vt:lpstr>
      <vt:lpstr>Pandas 1 - Liners</vt:lpstr>
      <vt:lpstr>Agenda</vt:lpstr>
      <vt:lpstr>Powerful One-liners in Pandas 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7</cp:revision>
  <dcterms:created xsi:type="dcterms:W3CDTF">2022-04-11T12:34:12Z</dcterms:created>
  <dcterms:modified xsi:type="dcterms:W3CDTF">2024-05-29T08:2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